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642" r:id="rId5"/>
    <p:sldMasterId id="2147484673" r:id="rId6"/>
    <p:sldMasterId id="2147484696" r:id="rId7"/>
  </p:sldMasterIdLst>
  <p:notesMasterIdLst>
    <p:notesMasterId r:id="rId18"/>
  </p:notesMasterIdLst>
  <p:handoutMasterIdLst>
    <p:handoutMasterId r:id="rId19"/>
  </p:handoutMasterIdLst>
  <p:sldIdLst>
    <p:sldId id="4413" r:id="rId8"/>
    <p:sldId id="4414" r:id="rId9"/>
    <p:sldId id="4415" r:id="rId10"/>
    <p:sldId id="4421" r:id="rId11"/>
    <p:sldId id="4423" r:id="rId12"/>
    <p:sldId id="4416" r:id="rId13"/>
    <p:sldId id="4424" r:id="rId14"/>
    <p:sldId id="4419" r:id="rId15"/>
    <p:sldId id="4425" r:id="rId16"/>
    <p:sldId id="4420" r:id="rId17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Kusto" id="{8616D459-25C9-41BE-A675-B213035DE140}">
          <p14:sldIdLst>
            <p14:sldId id="4413"/>
            <p14:sldId id="4414"/>
            <p14:sldId id="4415"/>
            <p14:sldId id="4421"/>
            <p14:sldId id="4423"/>
            <p14:sldId id="4416"/>
            <p14:sldId id="4424"/>
            <p14:sldId id="4419"/>
            <p14:sldId id="4425"/>
            <p14:sldId id="442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8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A1A1A"/>
    <a:srgbClr val="0078D4"/>
    <a:srgbClr val="107C10"/>
    <a:srgbClr val="EAEAEA"/>
    <a:srgbClr val="004B50"/>
    <a:srgbClr val="008272"/>
    <a:srgbClr val="00BCF2"/>
    <a:srgbClr val="00188F"/>
    <a:srgbClr val="0D0D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FE764CC-4D21-4F4A-B36F-C8DDD658C7D0}" v="61" dt="2018-12-06T19:22:39.9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532" autoAdjust="0"/>
    <p:restoredTop sz="73118" autoAdjust="0"/>
  </p:normalViewPr>
  <p:slideViewPr>
    <p:cSldViewPr snapToGrid="0">
      <p:cViewPr varScale="1">
        <p:scale>
          <a:sx n="101" d="100"/>
          <a:sy n="101" d="100"/>
        </p:scale>
        <p:origin x="138" y="492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hua Weaver" userId="f9dfedc4-7d8a-4a66-8cb4-687f61ce47a2" providerId="ADAL" clId="{19273574-F26A-407C-A297-DD83E6E4FDB7}"/>
    <pc:docChg chg="undo modSld">
      <pc:chgData name="Joshua Weaver" userId="f9dfedc4-7d8a-4a66-8cb4-687f61ce47a2" providerId="ADAL" clId="{19273574-F26A-407C-A297-DD83E6E4FDB7}" dt="2018-12-04T15:13:02.431" v="190" actId="20577"/>
      <pc:docMkLst>
        <pc:docMk/>
      </pc:docMkLst>
      <pc:sldChg chg="modSp">
        <pc:chgData name="Joshua Weaver" userId="f9dfedc4-7d8a-4a66-8cb4-687f61ce47a2" providerId="ADAL" clId="{19273574-F26A-407C-A297-DD83E6E4FDB7}" dt="2018-12-04T00:45:06.644" v="0" actId="20577"/>
        <pc:sldMkLst>
          <pc:docMk/>
          <pc:sldMk cId="4064934337" sldId="4415"/>
        </pc:sldMkLst>
        <pc:spChg chg="mod">
          <ac:chgData name="Joshua Weaver" userId="f9dfedc4-7d8a-4a66-8cb4-687f61ce47a2" providerId="ADAL" clId="{19273574-F26A-407C-A297-DD83E6E4FDB7}" dt="2018-12-04T00:45:06.644" v="0" actId="20577"/>
          <ac:spMkLst>
            <pc:docMk/>
            <pc:sldMk cId="4064934337" sldId="4415"/>
            <ac:spMk id="2" creationId="{8209BFE5-E2AE-48A0-82D5-CC3B005BBD89}"/>
          </ac:spMkLst>
        </pc:spChg>
      </pc:sldChg>
      <pc:sldChg chg="addSp modSp">
        <pc:chgData name="Joshua Weaver" userId="f9dfedc4-7d8a-4a66-8cb4-687f61ce47a2" providerId="ADAL" clId="{19273574-F26A-407C-A297-DD83E6E4FDB7}" dt="2018-12-04T15:13:02.431" v="190" actId="20577"/>
        <pc:sldMkLst>
          <pc:docMk/>
          <pc:sldMk cId="2433976721" sldId="4419"/>
        </pc:sldMkLst>
        <pc:spChg chg="add mod">
          <ac:chgData name="Joshua Weaver" userId="f9dfedc4-7d8a-4a66-8cb4-687f61ce47a2" providerId="ADAL" clId="{19273574-F26A-407C-A297-DD83E6E4FDB7}" dt="2018-12-04T15:13:02.431" v="190" actId="20577"/>
          <ac:spMkLst>
            <pc:docMk/>
            <pc:sldMk cId="2433976721" sldId="4419"/>
            <ac:spMk id="12" creationId="{B8210768-D569-4C42-9FD5-86BB82DD3D06}"/>
          </ac:spMkLst>
        </pc:spChg>
        <pc:spChg chg="add mod">
          <ac:chgData name="Joshua Weaver" userId="f9dfedc4-7d8a-4a66-8cb4-687f61ce47a2" providerId="ADAL" clId="{19273574-F26A-407C-A297-DD83E6E4FDB7}" dt="2018-12-04T15:11:56.008" v="137" actId="14100"/>
          <ac:spMkLst>
            <pc:docMk/>
            <pc:sldMk cId="2433976721" sldId="4419"/>
            <ac:spMk id="13" creationId="{69DDF8A5-E7A3-46EE-8678-29E08587EABA}"/>
          </ac:spMkLst>
        </pc:spChg>
        <pc:picChg chg="mod">
          <ac:chgData name="Joshua Weaver" userId="f9dfedc4-7d8a-4a66-8cb4-687f61ce47a2" providerId="ADAL" clId="{19273574-F26A-407C-A297-DD83E6E4FDB7}" dt="2018-12-04T15:12:00.650" v="139" actId="1076"/>
          <ac:picMkLst>
            <pc:docMk/>
            <pc:sldMk cId="2433976721" sldId="4419"/>
            <ac:picMk id="6" creationId="{BB54C5BF-9418-4CB4-B1AF-432D0953219E}"/>
          </ac:picMkLst>
        </pc:picChg>
      </pc:sldChg>
    </pc:docChg>
  </pc:docChgLst>
  <pc:docChgLst>
    <pc:chgData name="Joshua Weaver" userId="f9dfedc4-7d8a-4a66-8cb4-687f61ce47a2" providerId="ADAL" clId="{DFE764CC-4D21-4F4A-B36F-C8DDD658C7D0}"/>
    <pc:docChg chg="undo redo custSel addSld delSld modSld delSection modSection">
      <pc:chgData name="Joshua Weaver" userId="f9dfedc4-7d8a-4a66-8cb4-687f61ce47a2" providerId="ADAL" clId="{DFE764CC-4D21-4F4A-B36F-C8DDD658C7D0}" dt="2018-12-06T19:22:39.948" v="1181" actId="20577"/>
      <pc:docMkLst>
        <pc:docMk/>
      </pc:docMkLst>
      <pc:sldChg chg="modSp">
        <pc:chgData name="Joshua Weaver" userId="f9dfedc4-7d8a-4a66-8cb4-687f61ce47a2" providerId="ADAL" clId="{DFE764CC-4D21-4F4A-B36F-C8DDD658C7D0}" dt="2018-12-04T20:44:42.541" v="513" actId="20577"/>
        <pc:sldMkLst>
          <pc:docMk/>
          <pc:sldMk cId="3078552873" sldId="4414"/>
        </pc:sldMkLst>
        <pc:spChg chg="mod">
          <ac:chgData name="Joshua Weaver" userId="f9dfedc4-7d8a-4a66-8cb4-687f61ce47a2" providerId="ADAL" clId="{DFE764CC-4D21-4F4A-B36F-C8DDD658C7D0}" dt="2018-12-04T20:44:42.541" v="513" actId="20577"/>
          <ac:spMkLst>
            <pc:docMk/>
            <pc:sldMk cId="3078552873" sldId="4414"/>
            <ac:spMk id="2" creationId="{8209BFE5-E2AE-48A0-82D5-CC3B005BBD89}"/>
          </ac:spMkLst>
        </pc:spChg>
      </pc:sldChg>
      <pc:sldChg chg="addSp delSp modSp">
        <pc:chgData name="Joshua Weaver" userId="f9dfedc4-7d8a-4a66-8cb4-687f61ce47a2" providerId="ADAL" clId="{DFE764CC-4D21-4F4A-B36F-C8DDD658C7D0}" dt="2018-12-04T22:06:41.647" v="1084"/>
        <pc:sldMkLst>
          <pc:docMk/>
          <pc:sldMk cId="4064934337" sldId="4415"/>
        </pc:sldMkLst>
        <pc:spChg chg="mod">
          <ac:chgData name="Joshua Weaver" userId="f9dfedc4-7d8a-4a66-8cb4-687f61ce47a2" providerId="ADAL" clId="{DFE764CC-4D21-4F4A-B36F-C8DDD658C7D0}" dt="2018-12-04T16:26:15.254" v="98" actId="20577"/>
          <ac:spMkLst>
            <pc:docMk/>
            <pc:sldMk cId="4064934337" sldId="4415"/>
            <ac:spMk id="2" creationId="{8209BFE5-E2AE-48A0-82D5-CC3B005BBD89}"/>
          </ac:spMkLst>
        </pc:spChg>
        <pc:spChg chg="add del">
          <ac:chgData name="Joshua Weaver" userId="f9dfedc4-7d8a-4a66-8cb4-687f61ce47a2" providerId="ADAL" clId="{DFE764CC-4D21-4F4A-B36F-C8DDD658C7D0}" dt="2018-12-04T22:06:31.157" v="1082"/>
          <ac:spMkLst>
            <pc:docMk/>
            <pc:sldMk cId="4064934337" sldId="4415"/>
            <ac:spMk id="4" creationId="{05961A03-401B-4D90-B613-02687370A0E4}"/>
          </ac:spMkLst>
        </pc:spChg>
        <pc:spChg chg="add del">
          <ac:chgData name="Joshua Weaver" userId="f9dfedc4-7d8a-4a66-8cb4-687f61ce47a2" providerId="ADAL" clId="{DFE764CC-4D21-4F4A-B36F-C8DDD658C7D0}" dt="2018-12-04T16:21:34.737" v="43"/>
          <ac:spMkLst>
            <pc:docMk/>
            <pc:sldMk cId="4064934337" sldId="4415"/>
            <ac:spMk id="4" creationId="{D7AC8810-C7EA-414D-962D-E78321C5C8B8}"/>
          </ac:spMkLst>
        </pc:spChg>
        <pc:spChg chg="add del">
          <ac:chgData name="Joshua Weaver" userId="f9dfedc4-7d8a-4a66-8cb4-687f61ce47a2" providerId="ADAL" clId="{DFE764CC-4D21-4F4A-B36F-C8DDD658C7D0}" dt="2018-12-04T22:06:41.647" v="1084"/>
          <ac:spMkLst>
            <pc:docMk/>
            <pc:sldMk cId="4064934337" sldId="4415"/>
            <ac:spMk id="5" creationId="{07065F14-D08C-4DD5-84B0-0CD8E8C63814}"/>
          </ac:spMkLst>
        </pc:spChg>
        <pc:spChg chg="add del">
          <ac:chgData name="Joshua Weaver" userId="f9dfedc4-7d8a-4a66-8cb4-687f61ce47a2" providerId="ADAL" clId="{DFE764CC-4D21-4F4A-B36F-C8DDD658C7D0}" dt="2018-12-04T16:21:34.737" v="43"/>
          <ac:spMkLst>
            <pc:docMk/>
            <pc:sldMk cId="4064934337" sldId="4415"/>
            <ac:spMk id="5" creationId="{1F01B9B4-8477-4DAC-9DC7-E2B80A2A6021}"/>
          </ac:spMkLst>
        </pc:spChg>
        <pc:spChg chg="add del mod">
          <ac:chgData name="Joshua Weaver" userId="f9dfedc4-7d8a-4a66-8cb4-687f61ce47a2" providerId="ADAL" clId="{DFE764CC-4D21-4F4A-B36F-C8DDD658C7D0}" dt="2018-12-04T22:04:28.711" v="1078" actId="478"/>
          <ac:spMkLst>
            <pc:docMk/>
            <pc:sldMk cId="4064934337" sldId="4415"/>
            <ac:spMk id="6" creationId="{930FFAB4-CEFF-45E1-8446-450EF2172D07}"/>
          </ac:spMkLst>
        </pc:spChg>
        <pc:spChg chg="add del mod">
          <ac:chgData name="Joshua Weaver" userId="f9dfedc4-7d8a-4a66-8cb4-687f61ce47a2" providerId="ADAL" clId="{DFE764CC-4D21-4F4A-B36F-C8DDD658C7D0}" dt="2018-12-04T22:04:27.431" v="1077" actId="478"/>
          <ac:spMkLst>
            <pc:docMk/>
            <pc:sldMk cId="4064934337" sldId="4415"/>
            <ac:spMk id="7" creationId="{EBBEB3A9-F7DE-4E3D-BFF9-D5999D6E7435}"/>
          </ac:spMkLst>
        </pc:spChg>
        <pc:spChg chg="add mod">
          <ac:chgData name="Joshua Weaver" userId="f9dfedc4-7d8a-4a66-8cb4-687f61ce47a2" providerId="ADAL" clId="{DFE764CC-4D21-4F4A-B36F-C8DDD658C7D0}" dt="2018-12-04T16:23:20.339" v="62" actId="1076"/>
          <ac:spMkLst>
            <pc:docMk/>
            <pc:sldMk cId="4064934337" sldId="4415"/>
            <ac:spMk id="8" creationId="{7BFE070E-E37C-4264-8D88-6C365AE8D246}"/>
          </ac:spMkLst>
        </pc:spChg>
        <pc:spChg chg="add mod">
          <ac:chgData name="Joshua Weaver" userId="f9dfedc4-7d8a-4a66-8cb4-687f61ce47a2" providerId="ADAL" clId="{DFE764CC-4D21-4F4A-B36F-C8DDD658C7D0}" dt="2018-12-04T22:04:46.417" v="1080" actId="207"/>
          <ac:spMkLst>
            <pc:docMk/>
            <pc:sldMk cId="4064934337" sldId="4415"/>
            <ac:spMk id="9" creationId="{31C8CC50-722B-423A-8CCC-3C3799EEB841}"/>
          </ac:spMkLst>
        </pc:spChg>
        <pc:spChg chg="add mod">
          <ac:chgData name="Joshua Weaver" userId="f9dfedc4-7d8a-4a66-8cb4-687f61ce47a2" providerId="ADAL" clId="{DFE764CC-4D21-4F4A-B36F-C8DDD658C7D0}" dt="2018-12-04T22:04:40.821" v="1079" actId="207"/>
          <ac:spMkLst>
            <pc:docMk/>
            <pc:sldMk cId="4064934337" sldId="4415"/>
            <ac:spMk id="10" creationId="{B69DCAA4-61A7-4555-B000-F82DC08109FC}"/>
          </ac:spMkLst>
        </pc:spChg>
      </pc:sldChg>
      <pc:sldChg chg="addSp delSp modSp">
        <pc:chgData name="Joshua Weaver" userId="f9dfedc4-7d8a-4a66-8cb4-687f61ce47a2" providerId="ADAL" clId="{DFE764CC-4D21-4F4A-B36F-C8DDD658C7D0}" dt="2018-12-04T20:48:21.720" v="953" actId="404"/>
        <pc:sldMkLst>
          <pc:docMk/>
          <pc:sldMk cId="3494767007" sldId="4416"/>
        </pc:sldMkLst>
        <pc:spChg chg="mod">
          <ac:chgData name="Joshua Weaver" userId="f9dfedc4-7d8a-4a66-8cb4-687f61ce47a2" providerId="ADAL" clId="{DFE764CC-4D21-4F4A-B36F-C8DDD658C7D0}" dt="2018-12-04T20:48:21.720" v="953" actId="404"/>
          <ac:spMkLst>
            <pc:docMk/>
            <pc:sldMk cId="3494767007" sldId="4416"/>
            <ac:spMk id="2" creationId="{FFEC256A-D568-4BB9-A284-09AC9B557B0E}"/>
          </ac:spMkLst>
        </pc:spChg>
        <pc:spChg chg="add mod">
          <ac:chgData name="Joshua Weaver" userId="f9dfedc4-7d8a-4a66-8cb4-687f61ce47a2" providerId="ADAL" clId="{DFE764CC-4D21-4F4A-B36F-C8DDD658C7D0}" dt="2018-12-04T16:35:17.019" v="289" actId="1037"/>
          <ac:spMkLst>
            <pc:docMk/>
            <pc:sldMk cId="3494767007" sldId="4416"/>
            <ac:spMk id="4" creationId="{DEF5BACC-8A7B-4918-A01B-954F14FC6512}"/>
          </ac:spMkLst>
        </pc:spChg>
        <pc:spChg chg="add mod ord">
          <ac:chgData name="Joshua Weaver" userId="f9dfedc4-7d8a-4a66-8cb4-687f61ce47a2" providerId="ADAL" clId="{DFE764CC-4D21-4F4A-B36F-C8DDD658C7D0}" dt="2018-12-04T16:34:56.714" v="274" actId="167"/>
          <ac:spMkLst>
            <pc:docMk/>
            <pc:sldMk cId="3494767007" sldId="4416"/>
            <ac:spMk id="5" creationId="{F1BA0B30-3F56-4579-8AF1-0F323BBE775D}"/>
          </ac:spMkLst>
        </pc:spChg>
        <pc:spChg chg="add del">
          <ac:chgData name="Joshua Weaver" userId="f9dfedc4-7d8a-4a66-8cb4-687f61ce47a2" providerId="ADAL" clId="{DFE764CC-4D21-4F4A-B36F-C8DDD658C7D0}" dt="2018-12-04T16:35:28.556" v="291"/>
          <ac:spMkLst>
            <pc:docMk/>
            <pc:sldMk cId="3494767007" sldId="4416"/>
            <ac:spMk id="6" creationId="{3A40B425-715A-4574-95AF-FFC0BE3BEE50}"/>
          </ac:spMkLst>
        </pc:spChg>
      </pc:sldChg>
      <pc:sldChg chg="addSp delSp modSp add">
        <pc:chgData name="Joshua Weaver" userId="f9dfedc4-7d8a-4a66-8cb4-687f61ce47a2" providerId="ADAL" clId="{DFE764CC-4D21-4F4A-B36F-C8DDD658C7D0}" dt="2018-12-04T20:48:55.730" v="972" actId="478"/>
        <pc:sldMkLst>
          <pc:docMk/>
          <pc:sldMk cId="3751510296" sldId="4420"/>
        </pc:sldMkLst>
        <pc:spChg chg="mod">
          <ac:chgData name="Joshua Weaver" userId="f9dfedc4-7d8a-4a66-8cb4-687f61ce47a2" providerId="ADAL" clId="{DFE764CC-4D21-4F4A-B36F-C8DDD658C7D0}" dt="2018-12-04T20:48:53.087" v="971"/>
          <ac:spMkLst>
            <pc:docMk/>
            <pc:sldMk cId="3751510296" sldId="4420"/>
            <ac:spMk id="2" creationId="{6701A78B-E955-4B19-9C7A-21D0DEDADFE2}"/>
          </ac:spMkLst>
        </pc:spChg>
        <pc:spChg chg="del mod">
          <ac:chgData name="Joshua Weaver" userId="f9dfedc4-7d8a-4a66-8cb4-687f61ce47a2" providerId="ADAL" clId="{DFE764CC-4D21-4F4A-B36F-C8DDD658C7D0}" dt="2018-12-04T20:48:55.730" v="972" actId="478"/>
          <ac:spMkLst>
            <pc:docMk/>
            <pc:sldMk cId="3751510296" sldId="4420"/>
            <ac:spMk id="3" creationId="{A5D4B161-7D7F-462A-A948-74E6EDB011A2}"/>
          </ac:spMkLst>
        </pc:spChg>
        <pc:spChg chg="add mod">
          <ac:chgData name="Joshua Weaver" userId="f9dfedc4-7d8a-4a66-8cb4-687f61ce47a2" providerId="ADAL" clId="{DFE764CC-4D21-4F4A-B36F-C8DDD658C7D0}" dt="2018-12-04T20:48:55.730" v="972" actId="478"/>
          <ac:spMkLst>
            <pc:docMk/>
            <pc:sldMk cId="3751510296" sldId="4420"/>
            <ac:spMk id="5" creationId="{DDC5EFFF-6F1A-4A72-A8D3-9521E990E7A8}"/>
          </ac:spMkLst>
        </pc:spChg>
      </pc:sldChg>
      <pc:sldChg chg="modSp add">
        <pc:chgData name="Joshua Weaver" userId="f9dfedc4-7d8a-4a66-8cb4-687f61ce47a2" providerId="ADAL" clId="{DFE764CC-4D21-4F4A-B36F-C8DDD658C7D0}" dt="2018-12-06T19:22:39.948" v="1181" actId="20577"/>
        <pc:sldMkLst>
          <pc:docMk/>
          <pc:sldMk cId="3461545143" sldId="4421"/>
        </pc:sldMkLst>
        <pc:spChg chg="mod">
          <ac:chgData name="Joshua Weaver" userId="f9dfedc4-7d8a-4a66-8cb4-687f61ce47a2" providerId="ADAL" clId="{DFE764CC-4D21-4F4A-B36F-C8DDD658C7D0}" dt="2018-12-06T19:21:50.407" v="1174" actId="20577"/>
          <ac:spMkLst>
            <pc:docMk/>
            <pc:sldMk cId="3461545143" sldId="4421"/>
            <ac:spMk id="3" creationId="{6E84E3D3-96D6-43BF-B41B-9535129F5E19}"/>
          </ac:spMkLst>
        </pc:spChg>
        <pc:spChg chg="mod">
          <ac:chgData name="Joshua Weaver" userId="f9dfedc4-7d8a-4a66-8cb4-687f61ce47a2" providerId="ADAL" clId="{DFE764CC-4D21-4F4A-B36F-C8DDD658C7D0}" dt="2018-12-06T19:22:39.948" v="1181" actId="20577"/>
          <ac:spMkLst>
            <pc:docMk/>
            <pc:sldMk cId="3461545143" sldId="4421"/>
            <ac:spMk id="16" creationId="{616988EB-3B3A-49CB-BF1D-CEC6FCC8DF3C}"/>
          </ac:spMkLst>
        </pc:spChg>
      </pc:sldChg>
      <pc:sldChg chg="modSp add">
        <pc:chgData name="Joshua Weaver" userId="f9dfedc4-7d8a-4a66-8cb4-687f61ce47a2" providerId="ADAL" clId="{DFE764CC-4D21-4F4A-B36F-C8DDD658C7D0}" dt="2018-12-04T22:07:56.902" v="1130" actId="20577"/>
        <pc:sldMkLst>
          <pc:docMk/>
          <pc:sldMk cId="501065458" sldId="4423"/>
        </pc:sldMkLst>
        <pc:spChg chg="mod">
          <ac:chgData name="Joshua Weaver" userId="f9dfedc4-7d8a-4a66-8cb4-687f61ce47a2" providerId="ADAL" clId="{DFE764CC-4D21-4F4A-B36F-C8DDD658C7D0}" dt="2018-12-04T22:07:56.902" v="1130" actId="20577"/>
          <ac:spMkLst>
            <pc:docMk/>
            <pc:sldMk cId="501065458" sldId="4423"/>
            <ac:spMk id="2" creationId="{8661870E-F5DC-44D6-94D1-13482F42C217}"/>
          </ac:spMkLst>
        </pc:spChg>
      </pc:sldChg>
      <pc:sldChg chg="add">
        <pc:chgData name="Joshua Weaver" userId="f9dfedc4-7d8a-4a66-8cb4-687f61ce47a2" providerId="ADAL" clId="{DFE764CC-4D21-4F4A-B36F-C8DDD658C7D0}" dt="2018-12-04T22:08:35.584" v="1133"/>
        <pc:sldMkLst>
          <pc:docMk/>
          <pc:sldMk cId="184047839" sldId="4424"/>
        </pc:sldMkLst>
      </pc:sldChg>
      <pc:sldChg chg="modSp add">
        <pc:chgData name="Joshua Weaver" userId="f9dfedc4-7d8a-4a66-8cb4-687f61ce47a2" providerId="ADAL" clId="{DFE764CC-4D21-4F4A-B36F-C8DDD658C7D0}" dt="2018-12-04T22:09:04.941" v="1173" actId="20577"/>
        <pc:sldMkLst>
          <pc:docMk/>
          <pc:sldMk cId="2771726630" sldId="4425"/>
        </pc:sldMkLst>
        <pc:spChg chg="mod">
          <ac:chgData name="Joshua Weaver" userId="f9dfedc4-7d8a-4a66-8cb4-687f61ce47a2" providerId="ADAL" clId="{DFE764CC-4D21-4F4A-B36F-C8DDD658C7D0}" dt="2018-12-04T22:09:04.941" v="1173" actId="20577"/>
          <ac:spMkLst>
            <pc:docMk/>
            <pc:sldMk cId="2771726630" sldId="4425"/>
            <ac:spMk id="2" creationId="{8661870E-F5DC-44D6-94D1-13482F42C217}"/>
          </ac:spMkLst>
        </pc:spChg>
      </pc:sldChg>
      <pc:sldMasterChg chg="delSldLayout">
        <pc:chgData name="Joshua Weaver" userId="f9dfedc4-7d8a-4a66-8cb4-687f61ce47a2" providerId="ADAL" clId="{DFE764CC-4D21-4F4A-B36F-C8DDD658C7D0}" dt="2018-12-04T16:55:11.013" v="434" actId="2696"/>
        <pc:sldMasterMkLst>
          <pc:docMk/>
          <pc:sldMasterMk cId="3588427678" sldId="2147484229"/>
        </pc:sldMasterMkLst>
      </pc:sldMasterChg>
      <pc:sldMasterChg chg="delSldLayout">
        <pc:chgData name="Joshua Weaver" userId="f9dfedc4-7d8a-4a66-8cb4-687f61ce47a2" providerId="ADAL" clId="{DFE764CC-4D21-4F4A-B36F-C8DDD658C7D0}" dt="2018-12-04T22:07:59.023" v="1132" actId="2696"/>
        <pc:sldMasterMkLst>
          <pc:docMk/>
          <pc:sldMasterMk cId="4233109588" sldId="2147484673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12/6/2018 10:49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12/6/2018 8:15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int 1. </a:t>
            </a:r>
            <a:r>
              <a:rPr lang="en-US" sz="900" kern="12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 Light" pitchFamily="34" charset="0"/>
                <a:ea typeface="+mn-ea"/>
                <a:cs typeface="+mn-cs"/>
              </a:rPr>
              <a:t>Kusto clusters are increasingly being used as data sources internally; meaning in likelihood you will have to use Kusto at some point</a:t>
            </a:r>
          </a:p>
          <a:p>
            <a:r>
              <a:rPr lang="en-US" sz="900" kern="12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 Light" pitchFamily="34" charset="0"/>
                <a:ea typeface="+mn-ea"/>
                <a:cs typeface="+mn-cs"/>
              </a:rPr>
              <a:t>Point 2. </a:t>
            </a:r>
            <a:r>
              <a:rPr lang="en-US" dirty="0"/>
              <a:t>Kusto was designed to scale terabytes of data and visualize data in real-time e.g. IoT, real-time clickstream data etc. </a:t>
            </a:r>
          </a:p>
          <a:p>
            <a:r>
              <a:rPr lang="en-US" dirty="0"/>
              <a:t>Point 3. </a:t>
            </a:r>
            <a:r>
              <a:rPr lang="en-US" sz="900" kern="12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 Light" pitchFamily="34" charset="0"/>
                <a:ea typeface="+mn-ea"/>
                <a:cs typeface="+mn-cs"/>
              </a:rPr>
              <a:t>Add to your data scientist toolkit. Plus, Kusto has some neat built-in user analytics and time series analysis functions 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6/2018 8:1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2563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Kusto was built to query log / event data at scale </a:t>
            </a:r>
            <a:r>
              <a:rPr lang="en-US" sz="900" dirty="0">
                <a:sym typeface="Wingdings" panose="05000000000000000000" pitchFamily="2" charset="2"/>
              </a:rPr>
              <a:t> </a:t>
            </a:r>
            <a:r>
              <a:rPr lang="en-US" sz="900" dirty="0"/>
              <a:t>Efficient at processing millions of records of data</a:t>
            </a:r>
          </a:p>
          <a:p>
            <a:pPr marL="91440" fontAlgn="b">
              <a:spcAft>
                <a:spcPts val="600"/>
              </a:spcAft>
            </a:pPr>
            <a:r>
              <a:rPr lang="en-US" sz="900" dirty="0"/>
              <a:t>User friendly </a:t>
            </a:r>
            <a:r>
              <a:rPr lang="en-US" sz="900" dirty="0">
                <a:sym typeface="Wingdings" panose="05000000000000000000" pitchFamily="2" charset="2"/>
              </a:rPr>
              <a:t> </a:t>
            </a:r>
            <a:r>
              <a:rPr lang="en-US" sz="800" kern="1200" dirty="0">
                <a:solidFill>
                  <a:schemeClr val="bg1">
                    <a:lumMod val="50000"/>
                  </a:schemeClr>
                </a:solidFill>
                <a:latin typeface="Segoe UI Light" pitchFamily="34" charset="0"/>
                <a:ea typeface="+mn-ea"/>
                <a:cs typeface="Segoe UI Semilight" panose="020B0402040204020203" pitchFamily="34" charset="0"/>
              </a:rPr>
              <a:t>Built with analysts in mind, Includes out-of-the-box functions for user analytics and time series analysis</a:t>
            </a:r>
            <a:endParaRPr lang="en-US" sz="900" dirty="0"/>
          </a:p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dirty="0"/>
              <a:t>Familiar language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sz="900" kern="12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 Light" pitchFamily="34" charset="0"/>
                <a:ea typeface="+mn-ea"/>
                <a:cs typeface="+mn-cs"/>
              </a:rPr>
              <a:t>SQL / RedShift like query language </a:t>
            </a:r>
          </a:p>
          <a:p>
            <a:pPr marL="336145" indent="-336145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en-US" sz="900" kern="12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 Light" pitchFamily="34" charset="0"/>
                <a:ea typeface="+mn-ea"/>
                <a:cs typeface="+mn-cs"/>
              </a:rPr>
              <a:t>Useful functions for visualizing data, working with time stamps and time data etc.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6/2018 8:1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258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12/6/2018 8:15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791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11" Type="http://schemas.openxmlformats.org/officeDocument/2006/relationships/image" Target="../media/image12.png"/><Relationship Id="rId5" Type="http://schemas.openxmlformats.org/officeDocument/2006/relationships/image" Target="../media/image8.emf"/><Relationship Id="rId10" Type="http://schemas.openxmlformats.org/officeDocument/2006/relationships/image" Target="../media/image6.emf"/><Relationship Id="rId4" Type="http://schemas.openxmlformats.org/officeDocument/2006/relationships/image" Target="../media/image7.emf"/><Relationship Id="rId9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22" name="Picture 21" descr="People walking in office hall space with lots of glass windows" title="Microsoft brand photo">
            <a:extLst>
              <a:ext uri="{FF2B5EF4-FFF2-40B4-BE49-F238E27FC236}">
                <a16:creationId xmlns:a16="http://schemas.microsoft.com/office/drawing/2014/main" id="{153B50F6-5903-4565-BE17-A0107074BB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263" t="21279" r="5315" b="10595"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30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 userDrawn="1">
          <p15:clr>
            <a:srgbClr val="5ACBF0"/>
          </p15:clr>
        </p15:guide>
        <p15:guide id="3" pos="3355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229" userDrawn="1">
          <p15:clr>
            <a:srgbClr val="5ACBF0"/>
          </p15:clr>
        </p15:guide>
        <p15:guide id="7" pos="3000" userDrawn="1">
          <p15:clr>
            <a:srgbClr val="5ACBF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79845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8585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 userDrawn="1">
          <p15:clr>
            <a:srgbClr val="5ACBF0"/>
          </p15:clr>
        </p15:guide>
        <p15:guide id="29" orient="horz" pos="1271" userDrawn="1">
          <p15:clr>
            <a:srgbClr val="5ACBF0"/>
          </p15:clr>
        </p15:guide>
        <p15:guide id="30" orient="horz" pos="288" userDrawn="1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33210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 userDrawn="1">
          <p15:clr>
            <a:srgbClr val="FBAE40"/>
          </p15:clr>
        </p15:guide>
        <p15:guide id="6" orient="horz" pos="904" userDrawn="1">
          <p15:clr>
            <a:srgbClr val="5ACBF0"/>
          </p15:clr>
        </p15:guide>
        <p15:guide id="7" orient="horz" pos="1276" userDrawn="1">
          <p15:clr>
            <a:srgbClr val="5ACBF0"/>
          </p15:clr>
        </p15:guide>
        <p15:guide id="8" orient="horz" pos="2226" userDrawn="1">
          <p15:clr>
            <a:srgbClr val="5ACBF0"/>
          </p15:clr>
        </p15:guide>
        <p15:guide id="9" pos="2993" userDrawn="1">
          <p15:clr>
            <a:srgbClr val="C35E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3288613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7015746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74405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555510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 userDrawn="1">
          <p15:clr>
            <a:srgbClr val="5ACBF0"/>
          </p15:clr>
        </p15:guide>
        <p15:guide id="3" orient="horz" pos="1914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721148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0358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27" userDrawn="1">
          <p15:clr>
            <a:srgbClr val="5ACBF0"/>
          </p15:clr>
        </p15:guide>
        <p15:guide id="3" orient="horz" pos="1911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22" name="Picture 21" descr="People walking in office hall space with lots of glass windows" title="Microsoft brand photo">
            <a:extLst>
              <a:ext uri="{FF2B5EF4-FFF2-40B4-BE49-F238E27FC236}">
                <a16:creationId xmlns:a16="http://schemas.microsoft.com/office/drawing/2014/main" id="{A10A1598-2781-4754-9891-E335AAF2A6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263" t="21279" r="5315" b="10595"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435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7829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4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05879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288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Pr>
        <a:solidFill>
          <a:schemeClr val="bg1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606C7DA6-3E58-4BAA-9E2E-EA46ED5F18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22" name="Picture 21" descr="People walking in office hall space with lots of glass windows" title="Microsoft brand photo">
            <a:extLst>
              <a:ext uri="{FF2B5EF4-FFF2-40B4-BE49-F238E27FC236}">
                <a16:creationId xmlns:a16="http://schemas.microsoft.com/office/drawing/2014/main" id="{BF2EAF7A-6EE1-4537-AF2B-3EE242F9DF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263" t="21279" r="5315" b="10595"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1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752F7F94-9231-4E4A-AA40-FA537E6B0D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23" name="Picture 22" descr="People walking in office hall space with lots of glass windows" title="Microsoft brand photo">
            <a:extLst>
              <a:ext uri="{FF2B5EF4-FFF2-40B4-BE49-F238E27FC236}">
                <a16:creationId xmlns:a16="http://schemas.microsoft.com/office/drawing/2014/main" id="{AC96CA02-FAA3-45AE-9EAD-F557D40EE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263" t="21279" r="5315" b="10595"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61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11527229-DBED-4F7D-9D9A-03EC2258F2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73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923145A3-A9AB-4B3E-A898-5EC4C93284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83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0FD32619-3819-428A-8565-629596C91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938504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 userDrawn="1">
          <p15:clr>
            <a:srgbClr val="5ACBF0"/>
          </p15:clr>
        </p15:guide>
        <p15:guide id="2" orient="horz" pos="2496" userDrawn="1">
          <p15:clr>
            <a:srgbClr val="5ACBF0"/>
          </p15:clr>
        </p15:guide>
        <p15:guide id="3" pos="6132" userDrawn="1">
          <p15:clr>
            <a:srgbClr val="5ACBF0"/>
          </p15:clr>
        </p15:guide>
        <p15:guide id="4" orient="horz" pos="21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52811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7060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77340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35004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58854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014188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4814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55238527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30145344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16507765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849598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7399880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8863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461380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241712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50275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1657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209340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0680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25626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6EB48F5B-FA46-418B-8BEE-9F0C23C84A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92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4" orient="horz" pos="1272" userDrawn="1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8330381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6502638" y="4628003"/>
            <a:ext cx="5689362" cy="2229997"/>
            <a:chOff x="6633029" y="4720135"/>
            <a:chExt cx="5803446" cy="2274390"/>
          </a:xfrm>
        </p:grpSpPr>
        <p:sp>
          <p:nvSpPr>
            <p:cNvPr id="119815" name="Rectangle 38"/>
            <p:cNvSpPr>
              <a:spLocks noChangeArrowheads="1"/>
            </p:cNvSpPr>
            <p:nvPr userDrawn="1"/>
          </p:nvSpPr>
          <p:spPr bwMode="auto">
            <a:xfrm flipH="1">
              <a:off x="6633029" y="5607529"/>
              <a:ext cx="694914" cy="1386995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16" name="Rectangle 39"/>
            <p:cNvSpPr>
              <a:spLocks noChangeArrowheads="1"/>
            </p:cNvSpPr>
            <p:nvPr userDrawn="1"/>
          </p:nvSpPr>
          <p:spPr bwMode="auto">
            <a:xfrm flipH="1">
              <a:off x="6729270" y="5706600"/>
              <a:ext cx="53781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17" name="Rectangle 40"/>
            <p:cNvSpPr>
              <a:spLocks noChangeArrowheads="1"/>
            </p:cNvSpPr>
            <p:nvPr userDrawn="1"/>
          </p:nvSpPr>
          <p:spPr bwMode="auto">
            <a:xfrm flipH="1">
              <a:off x="6877877" y="5706600"/>
              <a:ext cx="55197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18" name="Rectangle 41"/>
            <p:cNvSpPr>
              <a:spLocks noChangeArrowheads="1"/>
            </p:cNvSpPr>
            <p:nvPr userDrawn="1"/>
          </p:nvSpPr>
          <p:spPr bwMode="auto">
            <a:xfrm flipH="1">
              <a:off x="7027899" y="5706600"/>
              <a:ext cx="59443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19" name="Rectangle 42"/>
            <p:cNvSpPr>
              <a:spLocks noChangeArrowheads="1"/>
            </p:cNvSpPr>
            <p:nvPr userDrawn="1"/>
          </p:nvSpPr>
          <p:spPr bwMode="auto">
            <a:xfrm flipH="1">
              <a:off x="7177921" y="5706600"/>
              <a:ext cx="59443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20" name="Rectangle 43"/>
            <p:cNvSpPr>
              <a:spLocks noChangeArrowheads="1"/>
            </p:cNvSpPr>
            <p:nvPr userDrawn="1"/>
          </p:nvSpPr>
          <p:spPr bwMode="auto">
            <a:xfrm flipH="1">
              <a:off x="6729270" y="5856622"/>
              <a:ext cx="53781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21" name="Rectangle 44"/>
            <p:cNvSpPr>
              <a:spLocks noChangeArrowheads="1"/>
            </p:cNvSpPr>
            <p:nvPr userDrawn="1"/>
          </p:nvSpPr>
          <p:spPr bwMode="auto">
            <a:xfrm flipH="1">
              <a:off x="6877877" y="5856622"/>
              <a:ext cx="55197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22" name="Rectangle 45"/>
            <p:cNvSpPr>
              <a:spLocks noChangeArrowheads="1"/>
            </p:cNvSpPr>
            <p:nvPr userDrawn="1"/>
          </p:nvSpPr>
          <p:spPr bwMode="auto">
            <a:xfrm flipH="1">
              <a:off x="7027899" y="5856622"/>
              <a:ext cx="59443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23" name="Rectangle 46"/>
            <p:cNvSpPr>
              <a:spLocks noChangeArrowheads="1"/>
            </p:cNvSpPr>
            <p:nvPr userDrawn="1"/>
          </p:nvSpPr>
          <p:spPr bwMode="auto">
            <a:xfrm flipH="1">
              <a:off x="7177921" y="5856622"/>
              <a:ext cx="59443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24" name="Rectangle 47"/>
            <p:cNvSpPr>
              <a:spLocks noChangeArrowheads="1"/>
            </p:cNvSpPr>
            <p:nvPr userDrawn="1"/>
          </p:nvSpPr>
          <p:spPr bwMode="auto">
            <a:xfrm flipH="1">
              <a:off x="6729270" y="6008059"/>
              <a:ext cx="53781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25" name="Rectangle 48"/>
            <p:cNvSpPr>
              <a:spLocks noChangeArrowheads="1"/>
            </p:cNvSpPr>
            <p:nvPr userDrawn="1"/>
          </p:nvSpPr>
          <p:spPr bwMode="auto">
            <a:xfrm flipH="1">
              <a:off x="6877877" y="6008059"/>
              <a:ext cx="55197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26" name="Rectangle 49"/>
            <p:cNvSpPr>
              <a:spLocks noChangeArrowheads="1"/>
            </p:cNvSpPr>
            <p:nvPr userDrawn="1"/>
          </p:nvSpPr>
          <p:spPr bwMode="auto">
            <a:xfrm flipH="1">
              <a:off x="7027899" y="6008059"/>
              <a:ext cx="59443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27" name="Rectangle 50"/>
            <p:cNvSpPr>
              <a:spLocks noChangeArrowheads="1"/>
            </p:cNvSpPr>
            <p:nvPr userDrawn="1"/>
          </p:nvSpPr>
          <p:spPr bwMode="auto">
            <a:xfrm flipH="1">
              <a:off x="7177921" y="6008059"/>
              <a:ext cx="59443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28" name="Rectangle 51"/>
            <p:cNvSpPr>
              <a:spLocks noChangeArrowheads="1"/>
            </p:cNvSpPr>
            <p:nvPr userDrawn="1"/>
          </p:nvSpPr>
          <p:spPr bwMode="auto">
            <a:xfrm flipH="1">
              <a:off x="6729270" y="6158081"/>
              <a:ext cx="53781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29" name="Rectangle 52"/>
            <p:cNvSpPr>
              <a:spLocks noChangeArrowheads="1"/>
            </p:cNvSpPr>
            <p:nvPr userDrawn="1"/>
          </p:nvSpPr>
          <p:spPr bwMode="auto">
            <a:xfrm flipH="1">
              <a:off x="6877877" y="6158081"/>
              <a:ext cx="55197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30" name="Rectangle 53"/>
            <p:cNvSpPr>
              <a:spLocks noChangeArrowheads="1"/>
            </p:cNvSpPr>
            <p:nvPr userDrawn="1"/>
          </p:nvSpPr>
          <p:spPr bwMode="auto">
            <a:xfrm flipH="1">
              <a:off x="7027899" y="6158081"/>
              <a:ext cx="59443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31" name="Rectangle 54"/>
            <p:cNvSpPr>
              <a:spLocks noChangeArrowheads="1"/>
            </p:cNvSpPr>
            <p:nvPr userDrawn="1"/>
          </p:nvSpPr>
          <p:spPr bwMode="auto">
            <a:xfrm flipH="1">
              <a:off x="7177921" y="6158081"/>
              <a:ext cx="59443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32" name="Rectangle 55"/>
            <p:cNvSpPr>
              <a:spLocks noChangeArrowheads="1"/>
            </p:cNvSpPr>
            <p:nvPr userDrawn="1"/>
          </p:nvSpPr>
          <p:spPr bwMode="auto">
            <a:xfrm flipH="1">
              <a:off x="6729270" y="6312349"/>
              <a:ext cx="53781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33" name="Rectangle 56"/>
            <p:cNvSpPr>
              <a:spLocks noChangeArrowheads="1"/>
            </p:cNvSpPr>
            <p:nvPr userDrawn="1"/>
          </p:nvSpPr>
          <p:spPr bwMode="auto">
            <a:xfrm flipH="1">
              <a:off x="6877877" y="6312349"/>
              <a:ext cx="55197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34" name="Rectangle 57"/>
            <p:cNvSpPr>
              <a:spLocks noChangeArrowheads="1"/>
            </p:cNvSpPr>
            <p:nvPr userDrawn="1"/>
          </p:nvSpPr>
          <p:spPr bwMode="auto">
            <a:xfrm flipH="1">
              <a:off x="7027899" y="6312349"/>
              <a:ext cx="59443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35" name="Rectangle 58"/>
            <p:cNvSpPr>
              <a:spLocks noChangeArrowheads="1"/>
            </p:cNvSpPr>
            <p:nvPr userDrawn="1"/>
          </p:nvSpPr>
          <p:spPr bwMode="auto">
            <a:xfrm flipH="1">
              <a:off x="7177921" y="6312349"/>
              <a:ext cx="59443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36" name="Rectangle 59"/>
            <p:cNvSpPr>
              <a:spLocks noChangeArrowheads="1"/>
            </p:cNvSpPr>
            <p:nvPr userDrawn="1"/>
          </p:nvSpPr>
          <p:spPr bwMode="auto">
            <a:xfrm flipH="1">
              <a:off x="6729270" y="6462371"/>
              <a:ext cx="53781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37" name="Rectangle 60"/>
            <p:cNvSpPr>
              <a:spLocks noChangeArrowheads="1"/>
            </p:cNvSpPr>
            <p:nvPr userDrawn="1"/>
          </p:nvSpPr>
          <p:spPr bwMode="auto">
            <a:xfrm flipH="1">
              <a:off x="6877877" y="6462371"/>
              <a:ext cx="55197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38" name="Rectangle 61"/>
            <p:cNvSpPr>
              <a:spLocks noChangeArrowheads="1"/>
            </p:cNvSpPr>
            <p:nvPr userDrawn="1"/>
          </p:nvSpPr>
          <p:spPr bwMode="auto">
            <a:xfrm flipH="1">
              <a:off x="7027899" y="6462371"/>
              <a:ext cx="59443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39" name="Rectangle 62"/>
            <p:cNvSpPr>
              <a:spLocks noChangeArrowheads="1"/>
            </p:cNvSpPr>
            <p:nvPr userDrawn="1"/>
          </p:nvSpPr>
          <p:spPr bwMode="auto">
            <a:xfrm flipH="1">
              <a:off x="7177921" y="6462371"/>
              <a:ext cx="59443" cy="10048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4" name="Rectangle 63"/>
            <p:cNvSpPr>
              <a:spLocks noChangeArrowheads="1"/>
            </p:cNvSpPr>
            <p:nvPr userDrawn="1"/>
          </p:nvSpPr>
          <p:spPr bwMode="auto">
            <a:xfrm flipH="1">
              <a:off x="6729270" y="6612393"/>
              <a:ext cx="53781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5" name="Rectangle 64"/>
            <p:cNvSpPr>
              <a:spLocks noChangeArrowheads="1"/>
            </p:cNvSpPr>
            <p:nvPr userDrawn="1"/>
          </p:nvSpPr>
          <p:spPr bwMode="auto">
            <a:xfrm flipH="1">
              <a:off x="6877877" y="6612393"/>
              <a:ext cx="55197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6" name="Rectangle 65"/>
            <p:cNvSpPr>
              <a:spLocks noChangeArrowheads="1"/>
            </p:cNvSpPr>
            <p:nvPr userDrawn="1"/>
          </p:nvSpPr>
          <p:spPr bwMode="auto">
            <a:xfrm flipH="1">
              <a:off x="7027899" y="6612393"/>
              <a:ext cx="59443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7" name="Rectangle 66"/>
            <p:cNvSpPr>
              <a:spLocks noChangeArrowheads="1"/>
            </p:cNvSpPr>
            <p:nvPr userDrawn="1"/>
          </p:nvSpPr>
          <p:spPr bwMode="auto">
            <a:xfrm flipH="1">
              <a:off x="7177921" y="6612393"/>
              <a:ext cx="59443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8" name="Rectangle 67"/>
            <p:cNvSpPr>
              <a:spLocks noChangeArrowheads="1"/>
            </p:cNvSpPr>
            <p:nvPr userDrawn="1"/>
          </p:nvSpPr>
          <p:spPr bwMode="auto">
            <a:xfrm flipH="1">
              <a:off x="6729270" y="6762415"/>
              <a:ext cx="53781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0" name="Rectangle 68"/>
            <p:cNvSpPr>
              <a:spLocks noChangeArrowheads="1"/>
            </p:cNvSpPr>
            <p:nvPr userDrawn="1"/>
          </p:nvSpPr>
          <p:spPr bwMode="auto">
            <a:xfrm flipH="1">
              <a:off x="6877877" y="6762415"/>
              <a:ext cx="55197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1" name="Rectangle 69"/>
            <p:cNvSpPr>
              <a:spLocks noChangeArrowheads="1"/>
            </p:cNvSpPr>
            <p:nvPr userDrawn="1"/>
          </p:nvSpPr>
          <p:spPr bwMode="auto">
            <a:xfrm flipH="1">
              <a:off x="7027899" y="6762415"/>
              <a:ext cx="59443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2" name="Rectangle 70"/>
            <p:cNvSpPr>
              <a:spLocks noChangeArrowheads="1"/>
            </p:cNvSpPr>
            <p:nvPr userDrawn="1"/>
          </p:nvSpPr>
          <p:spPr bwMode="auto">
            <a:xfrm flipH="1">
              <a:off x="7177921" y="6762415"/>
              <a:ext cx="59443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3" name="Rectangle 71"/>
            <p:cNvSpPr>
              <a:spLocks noChangeArrowheads="1"/>
            </p:cNvSpPr>
            <p:nvPr userDrawn="1"/>
          </p:nvSpPr>
          <p:spPr bwMode="auto">
            <a:xfrm flipH="1">
              <a:off x="8407818" y="6285458"/>
              <a:ext cx="404776" cy="709067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4" name="Rectangle 72"/>
            <p:cNvSpPr>
              <a:spLocks noChangeArrowheads="1"/>
            </p:cNvSpPr>
            <p:nvPr userDrawn="1"/>
          </p:nvSpPr>
          <p:spPr bwMode="auto">
            <a:xfrm flipH="1">
              <a:off x="7210472" y="5907573"/>
              <a:ext cx="403361" cy="1086952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5" name="Rectangle 73"/>
            <p:cNvSpPr>
              <a:spLocks noChangeArrowheads="1"/>
            </p:cNvSpPr>
            <p:nvPr userDrawn="1"/>
          </p:nvSpPr>
          <p:spPr bwMode="auto">
            <a:xfrm flipH="1">
              <a:off x="7903971" y="5911819"/>
              <a:ext cx="682175" cy="54630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6" name="Freeform 74"/>
            <p:cNvSpPr>
              <a:spLocks/>
            </p:cNvSpPr>
            <p:nvPr userDrawn="1"/>
          </p:nvSpPr>
          <p:spPr bwMode="auto">
            <a:xfrm flipH="1">
              <a:off x="7613834" y="4921108"/>
              <a:ext cx="581689" cy="2073417"/>
            </a:xfrm>
            <a:custGeom>
              <a:avLst/>
              <a:gdLst>
                <a:gd name="T0" fmla="*/ 0 w 411"/>
                <a:gd name="T1" fmla="*/ 0 h 1465"/>
                <a:gd name="T2" fmla="*/ 411 w 411"/>
                <a:gd name="T3" fmla="*/ 0 h 1465"/>
                <a:gd name="T4" fmla="*/ 411 w 411"/>
                <a:gd name="T5" fmla="*/ 1465 h 1465"/>
                <a:gd name="T6" fmla="*/ 0 w 411"/>
                <a:gd name="T7" fmla="*/ 1465 h 1465"/>
                <a:gd name="T8" fmla="*/ 0 w 411"/>
                <a:gd name="T9" fmla="*/ 954 h 1465"/>
                <a:gd name="T10" fmla="*/ 0 w 411"/>
                <a:gd name="T11" fmla="*/ 0 h 1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1" h="1465">
                  <a:moveTo>
                    <a:pt x="0" y="0"/>
                  </a:moveTo>
                  <a:lnTo>
                    <a:pt x="411" y="0"/>
                  </a:lnTo>
                  <a:lnTo>
                    <a:pt x="411" y="1465"/>
                  </a:lnTo>
                  <a:lnTo>
                    <a:pt x="0" y="1465"/>
                  </a:lnTo>
                  <a:lnTo>
                    <a:pt x="0" y="9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7" name="Freeform 75"/>
            <p:cNvSpPr>
              <a:spLocks/>
            </p:cNvSpPr>
            <p:nvPr userDrawn="1"/>
          </p:nvSpPr>
          <p:spPr bwMode="auto">
            <a:xfrm flipH="1">
              <a:off x="8195523" y="5920311"/>
              <a:ext cx="390623" cy="1074214"/>
            </a:xfrm>
            <a:custGeom>
              <a:avLst/>
              <a:gdLst>
                <a:gd name="T0" fmla="*/ 0 w 276"/>
                <a:gd name="T1" fmla="*/ 380 h 759"/>
                <a:gd name="T2" fmla="*/ 0 w 276"/>
                <a:gd name="T3" fmla="*/ 759 h 759"/>
                <a:gd name="T4" fmla="*/ 276 w 276"/>
                <a:gd name="T5" fmla="*/ 759 h 759"/>
                <a:gd name="T6" fmla="*/ 276 w 276"/>
                <a:gd name="T7" fmla="*/ 0 h 759"/>
                <a:gd name="T8" fmla="*/ 0 w 276"/>
                <a:gd name="T9" fmla="*/ 380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759">
                  <a:moveTo>
                    <a:pt x="0" y="380"/>
                  </a:moveTo>
                  <a:lnTo>
                    <a:pt x="0" y="759"/>
                  </a:lnTo>
                  <a:lnTo>
                    <a:pt x="276" y="759"/>
                  </a:lnTo>
                  <a:lnTo>
                    <a:pt x="276" y="0"/>
                  </a:lnTo>
                  <a:lnTo>
                    <a:pt x="0" y="38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8" name="Rectangle 76"/>
            <p:cNvSpPr>
              <a:spLocks noChangeArrowheads="1"/>
            </p:cNvSpPr>
            <p:nvPr userDrawn="1"/>
          </p:nvSpPr>
          <p:spPr bwMode="auto">
            <a:xfrm flipH="1">
              <a:off x="8063900" y="5034332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79" name="Rectangle 77"/>
            <p:cNvSpPr>
              <a:spLocks noChangeArrowheads="1"/>
            </p:cNvSpPr>
            <p:nvPr userDrawn="1"/>
          </p:nvSpPr>
          <p:spPr bwMode="auto">
            <a:xfrm flipH="1">
              <a:off x="7936522" y="5034332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0" name="Rectangle 78"/>
            <p:cNvSpPr>
              <a:spLocks noChangeArrowheads="1"/>
            </p:cNvSpPr>
            <p:nvPr userDrawn="1"/>
          </p:nvSpPr>
          <p:spPr bwMode="auto">
            <a:xfrm flipH="1">
              <a:off x="7813392" y="5034332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1" name="Rectangle 79"/>
            <p:cNvSpPr>
              <a:spLocks noChangeArrowheads="1"/>
            </p:cNvSpPr>
            <p:nvPr userDrawn="1"/>
          </p:nvSpPr>
          <p:spPr bwMode="auto">
            <a:xfrm flipH="1">
              <a:off x="7686014" y="5034332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2" name="Rectangle 80"/>
            <p:cNvSpPr>
              <a:spLocks noChangeArrowheads="1"/>
            </p:cNvSpPr>
            <p:nvPr userDrawn="1"/>
          </p:nvSpPr>
          <p:spPr bwMode="auto">
            <a:xfrm flipH="1">
              <a:off x="8063900" y="5198507"/>
              <a:ext cx="58028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3" name="Rectangle 81"/>
            <p:cNvSpPr>
              <a:spLocks noChangeArrowheads="1"/>
            </p:cNvSpPr>
            <p:nvPr userDrawn="1"/>
          </p:nvSpPr>
          <p:spPr bwMode="auto">
            <a:xfrm flipH="1">
              <a:off x="7936522" y="5198507"/>
              <a:ext cx="59443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4" name="Rectangle 82"/>
            <p:cNvSpPr>
              <a:spLocks noChangeArrowheads="1"/>
            </p:cNvSpPr>
            <p:nvPr userDrawn="1"/>
          </p:nvSpPr>
          <p:spPr bwMode="auto">
            <a:xfrm flipH="1">
              <a:off x="7813392" y="5198507"/>
              <a:ext cx="59443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5" name="Rectangle 83"/>
            <p:cNvSpPr>
              <a:spLocks noChangeArrowheads="1"/>
            </p:cNvSpPr>
            <p:nvPr userDrawn="1"/>
          </p:nvSpPr>
          <p:spPr bwMode="auto">
            <a:xfrm flipH="1">
              <a:off x="7686014" y="5198507"/>
              <a:ext cx="59443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6" name="Rectangle 84"/>
            <p:cNvSpPr>
              <a:spLocks noChangeArrowheads="1"/>
            </p:cNvSpPr>
            <p:nvPr userDrawn="1"/>
          </p:nvSpPr>
          <p:spPr bwMode="auto">
            <a:xfrm flipH="1">
              <a:off x="8063900" y="5357021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7" name="Rectangle 85"/>
            <p:cNvSpPr>
              <a:spLocks noChangeArrowheads="1"/>
            </p:cNvSpPr>
            <p:nvPr userDrawn="1"/>
          </p:nvSpPr>
          <p:spPr bwMode="auto">
            <a:xfrm flipH="1">
              <a:off x="7936522" y="5357021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8" name="Rectangle 86"/>
            <p:cNvSpPr>
              <a:spLocks noChangeArrowheads="1"/>
            </p:cNvSpPr>
            <p:nvPr userDrawn="1"/>
          </p:nvSpPr>
          <p:spPr bwMode="auto">
            <a:xfrm flipH="1">
              <a:off x="7813392" y="5357021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89" name="Rectangle 87"/>
            <p:cNvSpPr>
              <a:spLocks noChangeArrowheads="1"/>
            </p:cNvSpPr>
            <p:nvPr userDrawn="1"/>
          </p:nvSpPr>
          <p:spPr bwMode="auto">
            <a:xfrm flipH="1">
              <a:off x="7686014" y="5357021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0" name="Rectangle 88"/>
            <p:cNvSpPr>
              <a:spLocks noChangeArrowheads="1"/>
            </p:cNvSpPr>
            <p:nvPr userDrawn="1"/>
          </p:nvSpPr>
          <p:spPr bwMode="auto">
            <a:xfrm flipH="1">
              <a:off x="8063900" y="5521196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1" name="Rectangle 89"/>
            <p:cNvSpPr>
              <a:spLocks noChangeArrowheads="1"/>
            </p:cNvSpPr>
            <p:nvPr userDrawn="1"/>
          </p:nvSpPr>
          <p:spPr bwMode="auto">
            <a:xfrm flipH="1">
              <a:off x="7936522" y="5521196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2" name="Rectangle 90"/>
            <p:cNvSpPr>
              <a:spLocks noChangeArrowheads="1"/>
            </p:cNvSpPr>
            <p:nvPr userDrawn="1"/>
          </p:nvSpPr>
          <p:spPr bwMode="auto">
            <a:xfrm flipH="1">
              <a:off x="7813392" y="5521196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3" name="Rectangle 91"/>
            <p:cNvSpPr>
              <a:spLocks noChangeArrowheads="1"/>
            </p:cNvSpPr>
            <p:nvPr userDrawn="1"/>
          </p:nvSpPr>
          <p:spPr bwMode="auto">
            <a:xfrm flipH="1">
              <a:off x="7686014" y="5521196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4" name="Rectangle 92"/>
            <p:cNvSpPr>
              <a:spLocks noChangeArrowheads="1"/>
            </p:cNvSpPr>
            <p:nvPr userDrawn="1"/>
          </p:nvSpPr>
          <p:spPr bwMode="auto">
            <a:xfrm flipH="1">
              <a:off x="8063900" y="5683955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95" name="Rectangle 93"/>
            <p:cNvSpPr>
              <a:spLocks noChangeArrowheads="1"/>
            </p:cNvSpPr>
            <p:nvPr userDrawn="1"/>
          </p:nvSpPr>
          <p:spPr bwMode="auto">
            <a:xfrm flipH="1">
              <a:off x="7936522" y="5683955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40" name="Rectangle 94"/>
            <p:cNvSpPr>
              <a:spLocks noChangeArrowheads="1"/>
            </p:cNvSpPr>
            <p:nvPr userDrawn="1"/>
          </p:nvSpPr>
          <p:spPr bwMode="auto">
            <a:xfrm flipH="1">
              <a:off x="7813392" y="5683955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41" name="Rectangle 95"/>
            <p:cNvSpPr>
              <a:spLocks noChangeArrowheads="1"/>
            </p:cNvSpPr>
            <p:nvPr userDrawn="1"/>
          </p:nvSpPr>
          <p:spPr bwMode="auto">
            <a:xfrm flipH="1">
              <a:off x="7686014" y="5683955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42" name="Rectangle 96"/>
            <p:cNvSpPr>
              <a:spLocks noChangeArrowheads="1"/>
            </p:cNvSpPr>
            <p:nvPr userDrawn="1"/>
          </p:nvSpPr>
          <p:spPr bwMode="auto">
            <a:xfrm flipH="1">
              <a:off x="8063900" y="5848130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43" name="Rectangle 97"/>
            <p:cNvSpPr>
              <a:spLocks noChangeArrowheads="1"/>
            </p:cNvSpPr>
            <p:nvPr userDrawn="1"/>
          </p:nvSpPr>
          <p:spPr bwMode="auto">
            <a:xfrm flipH="1">
              <a:off x="7936522" y="5848130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44" name="Rectangle 98"/>
            <p:cNvSpPr>
              <a:spLocks noChangeArrowheads="1"/>
            </p:cNvSpPr>
            <p:nvPr userDrawn="1"/>
          </p:nvSpPr>
          <p:spPr bwMode="auto">
            <a:xfrm flipH="1">
              <a:off x="7813392" y="5848130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45" name="Rectangle 99"/>
            <p:cNvSpPr>
              <a:spLocks noChangeArrowheads="1"/>
            </p:cNvSpPr>
            <p:nvPr userDrawn="1"/>
          </p:nvSpPr>
          <p:spPr bwMode="auto">
            <a:xfrm flipH="1">
              <a:off x="7686014" y="5848130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46" name="Rectangle 100"/>
            <p:cNvSpPr>
              <a:spLocks noChangeArrowheads="1"/>
            </p:cNvSpPr>
            <p:nvPr userDrawn="1"/>
          </p:nvSpPr>
          <p:spPr bwMode="auto">
            <a:xfrm flipH="1">
              <a:off x="8063900" y="6012305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47" name="Rectangle 101"/>
            <p:cNvSpPr>
              <a:spLocks noChangeArrowheads="1"/>
            </p:cNvSpPr>
            <p:nvPr userDrawn="1"/>
          </p:nvSpPr>
          <p:spPr bwMode="auto">
            <a:xfrm flipH="1">
              <a:off x="7936522" y="6012305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48" name="Rectangle 102"/>
            <p:cNvSpPr>
              <a:spLocks noChangeArrowheads="1"/>
            </p:cNvSpPr>
            <p:nvPr userDrawn="1"/>
          </p:nvSpPr>
          <p:spPr bwMode="auto">
            <a:xfrm flipH="1">
              <a:off x="7813392" y="6012305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49" name="Rectangle 103"/>
            <p:cNvSpPr>
              <a:spLocks noChangeArrowheads="1"/>
            </p:cNvSpPr>
            <p:nvPr userDrawn="1"/>
          </p:nvSpPr>
          <p:spPr bwMode="auto">
            <a:xfrm flipH="1">
              <a:off x="7686014" y="6012305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50" name="Rectangle 104"/>
            <p:cNvSpPr>
              <a:spLocks noChangeArrowheads="1"/>
            </p:cNvSpPr>
            <p:nvPr userDrawn="1"/>
          </p:nvSpPr>
          <p:spPr bwMode="auto">
            <a:xfrm flipH="1">
              <a:off x="8063900" y="6330748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51" name="Rectangle 105"/>
            <p:cNvSpPr>
              <a:spLocks noChangeArrowheads="1"/>
            </p:cNvSpPr>
            <p:nvPr userDrawn="1"/>
          </p:nvSpPr>
          <p:spPr bwMode="auto">
            <a:xfrm flipH="1">
              <a:off x="7936522" y="6330748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52" name="Rectangle 106"/>
            <p:cNvSpPr>
              <a:spLocks noChangeArrowheads="1"/>
            </p:cNvSpPr>
            <p:nvPr userDrawn="1"/>
          </p:nvSpPr>
          <p:spPr bwMode="auto">
            <a:xfrm flipH="1">
              <a:off x="7813392" y="6330748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53" name="Rectangle 107"/>
            <p:cNvSpPr>
              <a:spLocks noChangeArrowheads="1"/>
            </p:cNvSpPr>
            <p:nvPr userDrawn="1"/>
          </p:nvSpPr>
          <p:spPr bwMode="auto">
            <a:xfrm flipH="1">
              <a:off x="7686014" y="6330748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54" name="Rectangle 108"/>
            <p:cNvSpPr>
              <a:spLocks noChangeArrowheads="1"/>
            </p:cNvSpPr>
            <p:nvPr userDrawn="1"/>
          </p:nvSpPr>
          <p:spPr bwMode="auto">
            <a:xfrm flipH="1">
              <a:off x="8063900" y="6162327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55" name="Rectangle 109"/>
            <p:cNvSpPr>
              <a:spLocks noChangeArrowheads="1"/>
            </p:cNvSpPr>
            <p:nvPr userDrawn="1"/>
          </p:nvSpPr>
          <p:spPr bwMode="auto">
            <a:xfrm flipH="1">
              <a:off x="7936522" y="6162327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56" name="Rectangle 110"/>
            <p:cNvSpPr>
              <a:spLocks noChangeArrowheads="1"/>
            </p:cNvSpPr>
            <p:nvPr userDrawn="1"/>
          </p:nvSpPr>
          <p:spPr bwMode="auto">
            <a:xfrm flipH="1">
              <a:off x="7813392" y="6162327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57" name="Rectangle 111"/>
            <p:cNvSpPr>
              <a:spLocks noChangeArrowheads="1"/>
            </p:cNvSpPr>
            <p:nvPr userDrawn="1"/>
          </p:nvSpPr>
          <p:spPr bwMode="auto">
            <a:xfrm flipH="1">
              <a:off x="7686014" y="6162327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58" name="Rectangle 112"/>
            <p:cNvSpPr>
              <a:spLocks noChangeArrowheads="1"/>
            </p:cNvSpPr>
            <p:nvPr userDrawn="1"/>
          </p:nvSpPr>
          <p:spPr bwMode="auto">
            <a:xfrm flipH="1">
              <a:off x="8063900" y="6493507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59" name="Rectangle 113"/>
            <p:cNvSpPr>
              <a:spLocks noChangeArrowheads="1"/>
            </p:cNvSpPr>
            <p:nvPr userDrawn="1"/>
          </p:nvSpPr>
          <p:spPr bwMode="auto">
            <a:xfrm flipH="1">
              <a:off x="7936522" y="6493507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60" name="Rectangle 114"/>
            <p:cNvSpPr>
              <a:spLocks noChangeArrowheads="1"/>
            </p:cNvSpPr>
            <p:nvPr userDrawn="1"/>
          </p:nvSpPr>
          <p:spPr bwMode="auto">
            <a:xfrm flipH="1">
              <a:off x="7813392" y="6493507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61" name="Rectangle 115"/>
            <p:cNvSpPr>
              <a:spLocks noChangeArrowheads="1"/>
            </p:cNvSpPr>
            <p:nvPr userDrawn="1"/>
          </p:nvSpPr>
          <p:spPr bwMode="auto">
            <a:xfrm flipH="1">
              <a:off x="7686014" y="6493507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62" name="Rectangle 116"/>
            <p:cNvSpPr>
              <a:spLocks noChangeArrowheads="1"/>
            </p:cNvSpPr>
            <p:nvPr userDrawn="1"/>
          </p:nvSpPr>
          <p:spPr bwMode="auto">
            <a:xfrm flipH="1">
              <a:off x="8063900" y="6661929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63" name="Rectangle 117"/>
            <p:cNvSpPr>
              <a:spLocks noChangeArrowheads="1"/>
            </p:cNvSpPr>
            <p:nvPr userDrawn="1"/>
          </p:nvSpPr>
          <p:spPr bwMode="auto">
            <a:xfrm flipH="1">
              <a:off x="7936522" y="6661929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64" name="Rectangle 118"/>
            <p:cNvSpPr>
              <a:spLocks noChangeArrowheads="1"/>
            </p:cNvSpPr>
            <p:nvPr userDrawn="1"/>
          </p:nvSpPr>
          <p:spPr bwMode="auto">
            <a:xfrm flipH="1">
              <a:off x="7813392" y="6661929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65" name="Rectangle 119"/>
            <p:cNvSpPr>
              <a:spLocks noChangeArrowheads="1"/>
            </p:cNvSpPr>
            <p:nvPr userDrawn="1"/>
          </p:nvSpPr>
          <p:spPr bwMode="auto">
            <a:xfrm flipH="1">
              <a:off x="7686014" y="6661929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66" name="Rectangle 120"/>
            <p:cNvSpPr>
              <a:spLocks noChangeArrowheads="1"/>
            </p:cNvSpPr>
            <p:nvPr userDrawn="1"/>
          </p:nvSpPr>
          <p:spPr bwMode="auto">
            <a:xfrm flipH="1">
              <a:off x="8063900" y="6826104"/>
              <a:ext cx="58028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67" name="Rectangle 121"/>
            <p:cNvSpPr>
              <a:spLocks noChangeArrowheads="1"/>
            </p:cNvSpPr>
            <p:nvPr userDrawn="1"/>
          </p:nvSpPr>
          <p:spPr bwMode="auto">
            <a:xfrm flipH="1">
              <a:off x="7936522" y="6826104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68" name="Rectangle 122"/>
            <p:cNvSpPr>
              <a:spLocks noChangeArrowheads="1"/>
            </p:cNvSpPr>
            <p:nvPr userDrawn="1"/>
          </p:nvSpPr>
          <p:spPr bwMode="auto">
            <a:xfrm flipH="1">
              <a:off x="7813392" y="6826104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69" name="Rectangle 123"/>
            <p:cNvSpPr>
              <a:spLocks noChangeArrowheads="1"/>
            </p:cNvSpPr>
            <p:nvPr userDrawn="1"/>
          </p:nvSpPr>
          <p:spPr bwMode="auto">
            <a:xfrm flipH="1">
              <a:off x="7686014" y="6826104"/>
              <a:ext cx="59443" cy="10897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70" name="Rectangle 124"/>
            <p:cNvSpPr>
              <a:spLocks noChangeArrowheads="1"/>
            </p:cNvSpPr>
            <p:nvPr userDrawn="1"/>
          </p:nvSpPr>
          <p:spPr bwMode="auto">
            <a:xfrm flipH="1">
              <a:off x="8485659" y="6012305"/>
              <a:ext cx="59443" cy="10897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71" name="Rectangle 125"/>
            <p:cNvSpPr>
              <a:spLocks noChangeArrowheads="1"/>
            </p:cNvSpPr>
            <p:nvPr userDrawn="1"/>
          </p:nvSpPr>
          <p:spPr bwMode="auto">
            <a:xfrm flipH="1">
              <a:off x="8362528" y="6012305"/>
              <a:ext cx="55197" cy="10897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72" name="Rectangle 126"/>
            <p:cNvSpPr>
              <a:spLocks noChangeArrowheads="1"/>
            </p:cNvSpPr>
            <p:nvPr userDrawn="1"/>
          </p:nvSpPr>
          <p:spPr bwMode="auto">
            <a:xfrm flipH="1">
              <a:off x="8236566" y="6012305"/>
              <a:ext cx="58028" cy="10897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73" name="Rectangle 127"/>
            <p:cNvSpPr>
              <a:spLocks noChangeArrowheads="1"/>
            </p:cNvSpPr>
            <p:nvPr userDrawn="1"/>
          </p:nvSpPr>
          <p:spPr bwMode="auto">
            <a:xfrm flipH="1">
              <a:off x="8485659" y="6175065"/>
              <a:ext cx="59443" cy="11039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74" name="Rectangle 128"/>
            <p:cNvSpPr>
              <a:spLocks noChangeArrowheads="1"/>
            </p:cNvSpPr>
            <p:nvPr userDrawn="1"/>
          </p:nvSpPr>
          <p:spPr bwMode="auto">
            <a:xfrm flipH="1">
              <a:off x="8362528" y="6175065"/>
              <a:ext cx="55197" cy="11039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75" name="Rectangle 129"/>
            <p:cNvSpPr>
              <a:spLocks noChangeArrowheads="1"/>
            </p:cNvSpPr>
            <p:nvPr userDrawn="1"/>
          </p:nvSpPr>
          <p:spPr bwMode="auto">
            <a:xfrm flipH="1">
              <a:off x="8236566" y="6175065"/>
              <a:ext cx="58028" cy="11039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76" name="Rectangle 130"/>
            <p:cNvSpPr>
              <a:spLocks noChangeArrowheads="1"/>
            </p:cNvSpPr>
            <p:nvPr userDrawn="1"/>
          </p:nvSpPr>
          <p:spPr bwMode="auto">
            <a:xfrm flipH="1">
              <a:off x="8485659" y="6325087"/>
              <a:ext cx="59443" cy="11039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77" name="Rectangle 131"/>
            <p:cNvSpPr>
              <a:spLocks noChangeArrowheads="1"/>
            </p:cNvSpPr>
            <p:nvPr userDrawn="1"/>
          </p:nvSpPr>
          <p:spPr bwMode="auto">
            <a:xfrm flipH="1">
              <a:off x="8362528" y="6325087"/>
              <a:ext cx="55197" cy="11039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78" name="Rectangle 132"/>
            <p:cNvSpPr>
              <a:spLocks noChangeArrowheads="1"/>
            </p:cNvSpPr>
            <p:nvPr userDrawn="1"/>
          </p:nvSpPr>
          <p:spPr bwMode="auto">
            <a:xfrm flipH="1">
              <a:off x="8236566" y="6325087"/>
              <a:ext cx="58028" cy="11039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79" name="Rectangle 133"/>
            <p:cNvSpPr>
              <a:spLocks noChangeArrowheads="1"/>
            </p:cNvSpPr>
            <p:nvPr userDrawn="1"/>
          </p:nvSpPr>
          <p:spPr bwMode="auto">
            <a:xfrm flipH="1">
              <a:off x="8485659" y="6475109"/>
              <a:ext cx="59443" cy="11039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80" name="Rectangle 134"/>
            <p:cNvSpPr>
              <a:spLocks noChangeArrowheads="1"/>
            </p:cNvSpPr>
            <p:nvPr userDrawn="1"/>
          </p:nvSpPr>
          <p:spPr bwMode="auto">
            <a:xfrm flipH="1">
              <a:off x="8362528" y="6475109"/>
              <a:ext cx="55197" cy="11039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81" name="Rectangle 135"/>
            <p:cNvSpPr>
              <a:spLocks noChangeArrowheads="1"/>
            </p:cNvSpPr>
            <p:nvPr userDrawn="1"/>
          </p:nvSpPr>
          <p:spPr bwMode="auto">
            <a:xfrm flipH="1">
              <a:off x="8236566" y="6475109"/>
              <a:ext cx="58028" cy="11039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82" name="Rectangle 136"/>
            <p:cNvSpPr>
              <a:spLocks noChangeArrowheads="1"/>
            </p:cNvSpPr>
            <p:nvPr userDrawn="1"/>
          </p:nvSpPr>
          <p:spPr bwMode="auto">
            <a:xfrm flipH="1">
              <a:off x="8485659" y="6630792"/>
              <a:ext cx="59443" cy="10473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83" name="Rectangle 137"/>
            <p:cNvSpPr>
              <a:spLocks noChangeArrowheads="1"/>
            </p:cNvSpPr>
            <p:nvPr userDrawn="1"/>
          </p:nvSpPr>
          <p:spPr bwMode="auto">
            <a:xfrm flipH="1">
              <a:off x="8362528" y="6630792"/>
              <a:ext cx="55197" cy="10473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84" name="Rectangle 138"/>
            <p:cNvSpPr>
              <a:spLocks noChangeArrowheads="1"/>
            </p:cNvSpPr>
            <p:nvPr userDrawn="1"/>
          </p:nvSpPr>
          <p:spPr bwMode="auto">
            <a:xfrm flipH="1">
              <a:off x="8236566" y="6630792"/>
              <a:ext cx="58028" cy="10473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85" name="Rectangle 139"/>
            <p:cNvSpPr>
              <a:spLocks noChangeArrowheads="1"/>
            </p:cNvSpPr>
            <p:nvPr userDrawn="1"/>
          </p:nvSpPr>
          <p:spPr bwMode="auto">
            <a:xfrm flipH="1">
              <a:off x="8485659" y="6780814"/>
              <a:ext cx="59443" cy="10897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86" name="Rectangle 140"/>
            <p:cNvSpPr>
              <a:spLocks noChangeArrowheads="1"/>
            </p:cNvSpPr>
            <p:nvPr userDrawn="1"/>
          </p:nvSpPr>
          <p:spPr bwMode="auto">
            <a:xfrm flipH="1">
              <a:off x="8362528" y="6780814"/>
              <a:ext cx="55197" cy="10897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87" name="Rectangle 141"/>
            <p:cNvSpPr>
              <a:spLocks noChangeArrowheads="1"/>
            </p:cNvSpPr>
            <p:nvPr userDrawn="1"/>
          </p:nvSpPr>
          <p:spPr bwMode="auto">
            <a:xfrm flipH="1">
              <a:off x="8236566" y="6780814"/>
              <a:ext cx="58028" cy="10897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88" name="Rectangle 142"/>
            <p:cNvSpPr>
              <a:spLocks noChangeArrowheads="1"/>
            </p:cNvSpPr>
            <p:nvPr userDrawn="1"/>
          </p:nvSpPr>
          <p:spPr bwMode="auto">
            <a:xfrm flipH="1">
              <a:off x="7686014" y="4810714"/>
              <a:ext cx="186820" cy="1103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89" name="Rectangle 143"/>
            <p:cNvSpPr>
              <a:spLocks noChangeArrowheads="1"/>
            </p:cNvSpPr>
            <p:nvPr userDrawn="1"/>
          </p:nvSpPr>
          <p:spPr bwMode="auto">
            <a:xfrm flipH="1">
              <a:off x="8027102" y="4742780"/>
              <a:ext cx="36798" cy="17832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90" name="Freeform 144"/>
            <p:cNvSpPr>
              <a:spLocks/>
            </p:cNvSpPr>
            <p:nvPr userDrawn="1"/>
          </p:nvSpPr>
          <p:spPr bwMode="auto">
            <a:xfrm flipH="1">
              <a:off x="8876283" y="5357021"/>
              <a:ext cx="421760" cy="1637504"/>
            </a:xfrm>
            <a:custGeom>
              <a:avLst/>
              <a:gdLst>
                <a:gd name="T0" fmla="*/ 0 w 298"/>
                <a:gd name="T1" fmla="*/ 193 h 1157"/>
                <a:gd name="T2" fmla="*/ 298 w 298"/>
                <a:gd name="T3" fmla="*/ 0 h 1157"/>
                <a:gd name="T4" fmla="*/ 298 w 298"/>
                <a:gd name="T5" fmla="*/ 1157 h 1157"/>
                <a:gd name="T6" fmla="*/ 0 w 298"/>
                <a:gd name="T7" fmla="*/ 1157 h 1157"/>
                <a:gd name="T8" fmla="*/ 0 w 298"/>
                <a:gd name="T9" fmla="*/ 193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8" h="1157">
                  <a:moveTo>
                    <a:pt x="0" y="193"/>
                  </a:moveTo>
                  <a:lnTo>
                    <a:pt x="298" y="0"/>
                  </a:lnTo>
                  <a:lnTo>
                    <a:pt x="298" y="1157"/>
                  </a:lnTo>
                  <a:lnTo>
                    <a:pt x="0" y="1157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91" name="Rectangle 145"/>
            <p:cNvSpPr>
              <a:spLocks noChangeArrowheads="1"/>
            </p:cNvSpPr>
            <p:nvPr userDrawn="1"/>
          </p:nvSpPr>
          <p:spPr bwMode="auto">
            <a:xfrm flipH="1">
              <a:off x="9811798" y="5961354"/>
              <a:ext cx="226448" cy="1033170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92" name="Rectangle 146"/>
            <p:cNvSpPr>
              <a:spLocks noChangeArrowheads="1"/>
            </p:cNvSpPr>
            <p:nvPr userDrawn="1"/>
          </p:nvSpPr>
          <p:spPr bwMode="auto">
            <a:xfrm flipH="1">
              <a:off x="9474956" y="5375419"/>
              <a:ext cx="450066" cy="1619105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93" name="Freeform 147"/>
            <p:cNvSpPr>
              <a:spLocks/>
            </p:cNvSpPr>
            <p:nvPr userDrawn="1"/>
          </p:nvSpPr>
          <p:spPr bwMode="auto">
            <a:xfrm flipH="1">
              <a:off x="9583934" y="5211244"/>
              <a:ext cx="232109" cy="164175"/>
            </a:xfrm>
            <a:custGeom>
              <a:avLst/>
              <a:gdLst>
                <a:gd name="T0" fmla="*/ 122 w 164"/>
                <a:gd name="T1" fmla="*/ 0 h 116"/>
                <a:gd name="T2" fmla="*/ 42 w 164"/>
                <a:gd name="T3" fmla="*/ 0 h 116"/>
                <a:gd name="T4" fmla="*/ 0 w 164"/>
                <a:gd name="T5" fmla="*/ 116 h 116"/>
                <a:gd name="T6" fmla="*/ 164 w 164"/>
                <a:gd name="T7" fmla="*/ 116 h 116"/>
                <a:gd name="T8" fmla="*/ 122 w 164"/>
                <a:gd name="T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16">
                  <a:moveTo>
                    <a:pt x="122" y="0"/>
                  </a:moveTo>
                  <a:lnTo>
                    <a:pt x="42" y="0"/>
                  </a:lnTo>
                  <a:lnTo>
                    <a:pt x="0" y="116"/>
                  </a:lnTo>
                  <a:lnTo>
                    <a:pt x="164" y="116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95" name="Rectangle 149"/>
            <p:cNvSpPr>
              <a:spLocks noChangeArrowheads="1"/>
            </p:cNvSpPr>
            <p:nvPr userDrawn="1"/>
          </p:nvSpPr>
          <p:spPr bwMode="auto">
            <a:xfrm flipH="1">
              <a:off x="9820289" y="5429201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96" name="Rectangle 150"/>
            <p:cNvSpPr>
              <a:spLocks noChangeArrowheads="1"/>
            </p:cNvSpPr>
            <p:nvPr userDrawn="1"/>
          </p:nvSpPr>
          <p:spPr bwMode="auto">
            <a:xfrm flipH="1">
              <a:off x="9725464" y="5429201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97" name="Rectangle 151"/>
            <p:cNvSpPr>
              <a:spLocks noChangeArrowheads="1"/>
            </p:cNvSpPr>
            <p:nvPr userDrawn="1"/>
          </p:nvSpPr>
          <p:spPr bwMode="auto">
            <a:xfrm flipH="1">
              <a:off x="9629223" y="5429201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98" name="Rectangle 152"/>
            <p:cNvSpPr>
              <a:spLocks noChangeArrowheads="1"/>
            </p:cNvSpPr>
            <p:nvPr userDrawn="1"/>
          </p:nvSpPr>
          <p:spPr bwMode="auto">
            <a:xfrm flipH="1">
              <a:off x="9534399" y="5429201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99" name="Rectangle 153"/>
            <p:cNvSpPr>
              <a:spLocks noChangeArrowheads="1"/>
            </p:cNvSpPr>
            <p:nvPr userDrawn="1"/>
          </p:nvSpPr>
          <p:spPr bwMode="auto">
            <a:xfrm flipH="1">
              <a:off x="9820289" y="5579223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00" name="Rectangle 154"/>
            <p:cNvSpPr>
              <a:spLocks noChangeArrowheads="1"/>
            </p:cNvSpPr>
            <p:nvPr userDrawn="1"/>
          </p:nvSpPr>
          <p:spPr bwMode="auto">
            <a:xfrm flipH="1">
              <a:off x="9725464" y="5579223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01" name="Rectangle 155"/>
            <p:cNvSpPr>
              <a:spLocks noChangeArrowheads="1"/>
            </p:cNvSpPr>
            <p:nvPr userDrawn="1"/>
          </p:nvSpPr>
          <p:spPr bwMode="auto">
            <a:xfrm flipH="1">
              <a:off x="9629223" y="5579223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02" name="Rectangle 156"/>
            <p:cNvSpPr>
              <a:spLocks noChangeArrowheads="1"/>
            </p:cNvSpPr>
            <p:nvPr userDrawn="1"/>
          </p:nvSpPr>
          <p:spPr bwMode="auto">
            <a:xfrm flipH="1">
              <a:off x="9534399" y="5579223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03" name="Rectangle 157"/>
            <p:cNvSpPr>
              <a:spLocks noChangeArrowheads="1"/>
            </p:cNvSpPr>
            <p:nvPr userDrawn="1"/>
          </p:nvSpPr>
          <p:spPr bwMode="auto">
            <a:xfrm flipH="1">
              <a:off x="9820289" y="5729245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04" name="Rectangle 158"/>
            <p:cNvSpPr>
              <a:spLocks noChangeArrowheads="1"/>
            </p:cNvSpPr>
            <p:nvPr userDrawn="1"/>
          </p:nvSpPr>
          <p:spPr bwMode="auto">
            <a:xfrm flipH="1">
              <a:off x="9725464" y="5729245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05" name="Rectangle 159"/>
            <p:cNvSpPr>
              <a:spLocks noChangeArrowheads="1"/>
            </p:cNvSpPr>
            <p:nvPr userDrawn="1"/>
          </p:nvSpPr>
          <p:spPr bwMode="auto">
            <a:xfrm flipH="1">
              <a:off x="9629223" y="5729245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06" name="Rectangle 160"/>
            <p:cNvSpPr>
              <a:spLocks noChangeArrowheads="1"/>
            </p:cNvSpPr>
            <p:nvPr userDrawn="1"/>
          </p:nvSpPr>
          <p:spPr bwMode="auto">
            <a:xfrm flipH="1">
              <a:off x="9534399" y="5729245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07" name="Rectangle 161"/>
            <p:cNvSpPr>
              <a:spLocks noChangeArrowheads="1"/>
            </p:cNvSpPr>
            <p:nvPr userDrawn="1"/>
          </p:nvSpPr>
          <p:spPr bwMode="auto">
            <a:xfrm flipH="1">
              <a:off x="9820289" y="5880682"/>
              <a:ext cx="45290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08" name="Rectangle 162"/>
            <p:cNvSpPr>
              <a:spLocks noChangeArrowheads="1"/>
            </p:cNvSpPr>
            <p:nvPr userDrawn="1"/>
          </p:nvSpPr>
          <p:spPr bwMode="auto">
            <a:xfrm flipH="1">
              <a:off x="9725464" y="5880682"/>
              <a:ext cx="45290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09" name="Rectangle 163"/>
            <p:cNvSpPr>
              <a:spLocks noChangeArrowheads="1"/>
            </p:cNvSpPr>
            <p:nvPr userDrawn="1"/>
          </p:nvSpPr>
          <p:spPr bwMode="auto">
            <a:xfrm flipH="1">
              <a:off x="9629223" y="5880682"/>
              <a:ext cx="45290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10" name="Rectangle 164"/>
            <p:cNvSpPr>
              <a:spLocks noChangeArrowheads="1"/>
            </p:cNvSpPr>
            <p:nvPr userDrawn="1"/>
          </p:nvSpPr>
          <p:spPr bwMode="auto">
            <a:xfrm flipH="1">
              <a:off x="9534399" y="5880682"/>
              <a:ext cx="45290" cy="1033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11" name="Rectangle 165"/>
            <p:cNvSpPr>
              <a:spLocks noChangeArrowheads="1"/>
            </p:cNvSpPr>
            <p:nvPr userDrawn="1"/>
          </p:nvSpPr>
          <p:spPr bwMode="auto">
            <a:xfrm flipH="1">
              <a:off x="9820289" y="6034950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12" name="Rectangle 166"/>
            <p:cNvSpPr>
              <a:spLocks noChangeArrowheads="1"/>
            </p:cNvSpPr>
            <p:nvPr userDrawn="1"/>
          </p:nvSpPr>
          <p:spPr bwMode="auto">
            <a:xfrm flipH="1">
              <a:off x="9725464" y="6034950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13" name="Rectangle 167"/>
            <p:cNvSpPr>
              <a:spLocks noChangeArrowheads="1"/>
            </p:cNvSpPr>
            <p:nvPr userDrawn="1"/>
          </p:nvSpPr>
          <p:spPr bwMode="auto">
            <a:xfrm flipH="1">
              <a:off x="9629223" y="6034950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14" name="Rectangle 168"/>
            <p:cNvSpPr>
              <a:spLocks noChangeArrowheads="1"/>
            </p:cNvSpPr>
            <p:nvPr userDrawn="1"/>
          </p:nvSpPr>
          <p:spPr bwMode="auto">
            <a:xfrm flipH="1">
              <a:off x="9534399" y="6034950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15" name="Rectangle 169"/>
            <p:cNvSpPr>
              <a:spLocks noChangeArrowheads="1"/>
            </p:cNvSpPr>
            <p:nvPr userDrawn="1"/>
          </p:nvSpPr>
          <p:spPr bwMode="auto">
            <a:xfrm flipH="1">
              <a:off x="9820289" y="6184972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16" name="Rectangle 170"/>
            <p:cNvSpPr>
              <a:spLocks noChangeArrowheads="1"/>
            </p:cNvSpPr>
            <p:nvPr userDrawn="1"/>
          </p:nvSpPr>
          <p:spPr bwMode="auto">
            <a:xfrm flipH="1">
              <a:off x="9725464" y="6184972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17" name="Rectangle 171"/>
            <p:cNvSpPr>
              <a:spLocks noChangeArrowheads="1"/>
            </p:cNvSpPr>
            <p:nvPr userDrawn="1"/>
          </p:nvSpPr>
          <p:spPr bwMode="auto">
            <a:xfrm flipH="1">
              <a:off x="9629223" y="6184972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18" name="Rectangle 172"/>
            <p:cNvSpPr>
              <a:spLocks noChangeArrowheads="1"/>
            </p:cNvSpPr>
            <p:nvPr userDrawn="1"/>
          </p:nvSpPr>
          <p:spPr bwMode="auto">
            <a:xfrm flipH="1">
              <a:off x="9534399" y="6184972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19" name="Rectangle 173"/>
            <p:cNvSpPr>
              <a:spLocks noChangeArrowheads="1"/>
            </p:cNvSpPr>
            <p:nvPr userDrawn="1"/>
          </p:nvSpPr>
          <p:spPr bwMode="auto">
            <a:xfrm flipH="1">
              <a:off x="9820289" y="6334994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20" name="Rectangle 174"/>
            <p:cNvSpPr>
              <a:spLocks noChangeArrowheads="1"/>
            </p:cNvSpPr>
            <p:nvPr userDrawn="1"/>
          </p:nvSpPr>
          <p:spPr bwMode="auto">
            <a:xfrm flipH="1">
              <a:off x="9725464" y="6334994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21" name="Rectangle 175"/>
            <p:cNvSpPr>
              <a:spLocks noChangeArrowheads="1"/>
            </p:cNvSpPr>
            <p:nvPr userDrawn="1"/>
          </p:nvSpPr>
          <p:spPr bwMode="auto">
            <a:xfrm flipH="1">
              <a:off x="9629223" y="6334994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22" name="Rectangle 176"/>
            <p:cNvSpPr>
              <a:spLocks noChangeArrowheads="1"/>
            </p:cNvSpPr>
            <p:nvPr userDrawn="1"/>
          </p:nvSpPr>
          <p:spPr bwMode="auto">
            <a:xfrm flipH="1">
              <a:off x="9534399" y="6334994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23" name="Rectangle 177"/>
            <p:cNvSpPr>
              <a:spLocks noChangeArrowheads="1"/>
            </p:cNvSpPr>
            <p:nvPr userDrawn="1"/>
          </p:nvSpPr>
          <p:spPr bwMode="auto">
            <a:xfrm flipH="1">
              <a:off x="9820289" y="6485016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24" name="Rectangle 178"/>
            <p:cNvSpPr>
              <a:spLocks noChangeArrowheads="1"/>
            </p:cNvSpPr>
            <p:nvPr userDrawn="1"/>
          </p:nvSpPr>
          <p:spPr bwMode="auto">
            <a:xfrm flipH="1">
              <a:off x="9725464" y="6485016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25" name="Rectangle 179"/>
            <p:cNvSpPr>
              <a:spLocks noChangeArrowheads="1"/>
            </p:cNvSpPr>
            <p:nvPr userDrawn="1"/>
          </p:nvSpPr>
          <p:spPr bwMode="auto">
            <a:xfrm flipH="1">
              <a:off x="9629223" y="6485016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26" name="Rectangle 180"/>
            <p:cNvSpPr>
              <a:spLocks noChangeArrowheads="1"/>
            </p:cNvSpPr>
            <p:nvPr userDrawn="1"/>
          </p:nvSpPr>
          <p:spPr bwMode="auto">
            <a:xfrm flipH="1">
              <a:off x="9534399" y="6485016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27" name="Rectangle 181"/>
            <p:cNvSpPr>
              <a:spLocks noChangeArrowheads="1"/>
            </p:cNvSpPr>
            <p:nvPr userDrawn="1"/>
          </p:nvSpPr>
          <p:spPr bwMode="auto">
            <a:xfrm flipH="1">
              <a:off x="9820289" y="6635038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28" name="Rectangle 182"/>
            <p:cNvSpPr>
              <a:spLocks noChangeArrowheads="1"/>
            </p:cNvSpPr>
            <p:nvPr userDrawn="1"/>
          </p:nvSpPr>
          <p:spPr bwMode="auto">
            <a:xfrm flipH="1">
              <a:off x="9725464" y="6635038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29" name="Rectangle 183"/>
            <p:cNvSpPr>
              <a:spLocks noChangeArrowheads="1"/>
            </p:cNvSpPr>
            <p:nvPr userDrawn="1"/>
          </p:nvSpPr>
          <p:spPr bwMode="auto">
            <a:xfrm flipH="1">
              <a:off x="9629223" y="6635038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30" name="Rectangle 184"/>
            <p:cNvSpPr>
              <a:spLocks noChangeArrowheads="1"/>
            </p:cNvSpPr>
            <p:nvPr userDrawn="1"/>
          </p:nvSpPr>
          <p:spPr bwMode="auto">
            <a:xfrm flipH="1">
              <a:off x="9534399" y="6635038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31" name="Rectangle 185"/>
            <p:cNvSpPr>
              <a:spLocks noChangeArrowheads="1"/>
            </p:cNvSpPr>
            <p:nvPr userDrawn="1"/>
          </p:nvSpPr>
          <p:spPr bwMode="auto">
            <a:xfrm flipH="1">
              <a:off x="9820289" y="6789306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32" name="Rectangle 186"/>
            <p:cNvSpPr>
              <a:spLocks noChangeArrowheads="1"/>
            </p:cNvSpPr>
            <p:nvPr userDrawn="1"/>
          </p:nvSpPr>
          <p:spPr bwMode="auto">
            <a:xfrm flipH="1">
              <a:off x="9725464" y="6789306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33" name="Rectangle 187"/>
            <p:cNvSpPr>
              <a:spLocks noChangeArrowheads="1"/>
            </p:cNvSpPr>
            <p:nvPr userDrawn="1"/>
          </p:nvSpPr>
          <p:spPr bwMode="auto">
            <a:xfrm flipH="1">
              <a:off x="9629223" y="6789306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34" name="Rectangle 188"/>
            <p:cNvSpPr>
              <a:spLocks noChangeArrowheads="1"/>
            </p:cNvSpPr>
            <p:nvPr userDrawn="1"/>
          </p:nvSpPr>
          <p:spPr bwMode="auto">
            <a:xfrm flipH="1">
              <a:off x="9534399" y="6789306"/>
              <a:ext cx="45290" cy="10473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35" name="Line 189"/>
            <p:cNvSpPr>
              <a:spLocks noChangeShapeType="1"/>
            </p:cNvSpPr>
            <p:nvPr userDrawn="1"/>
          </p:nvSpPr>
          <p:spPr bwMode="auto">
            <a:xfrm flipH="1">
              <a:off x="8939972" y="5357021"/>
              <a:ext cx="0" cy="1637504"/>
            </a:xfrm>
            <a:prstGeom prst="line">
              <a:avLst/>
            </a:prstGeom>
            <a:noFill/>
            <a:ln w="34925" cap="flat">
              <a:solidFill>
                <a:schemeClr val="bg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36" name="Line 190"/>
            <p:cNvSpPr>
              <a:spLocks noChangeShapeType="1"/>
            </p:cNvSpPr>
            <p:nvPr userDrawn="1"/>
          </p:nvSpPr>
          <p:spPr bwMode="auto">
            <a:xfrm flipH="1">
              <a:off x="9016398" y="5357021"/>
              <a:ext cx="0" cy="1637504"/>
            </a:xfrm>
            <a:prstGeom prst="line">
              <a:avLst/>
            </a:prstGeom>
            <a:noFill/>
            <a:ln w="34925" cap="flat">
              <a:solidFill>
                <a:schemeClr val="bg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37" name="Line 191"/>
            <p:cNvSpPr>
              <a:spLocks noChangeShapeType="1"/>
            </p:cNvSpPr>
            <p:nvPr userDrawn="1"/>
          </p:nvSpPr>
          <p:spPr bwMode="auto">
            <a:xfrm flipH="1">
              <a:off x="9089994" y="5357021"/>
              <a:ext cx="0" cy="1637504"/>
            </a:xfrm>
            <a:prstGeom prst="line">
              <a:avLst/>
            </a:prstGeom>
            <a:noFill/>
            <a:ln w="34925" cap="flat">
              <a:solidFill>
                <a:schemeClr val="bg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38" name="Line 192"/>
            <p:cNvSpPr>
              <a:spLocks noChangeShapeType="1"/>
            </p:cNvSpPr>
            <p:nvPr userDrawn="1"/>
          </p:nvSpPr>
          <p:spPr bwMode="auto">
            <a:xfrm flipH="1">
              <a:off x="9166420" y="5357021"/>
              <a:ext cx="0" cy="1637504"/>
            </a:xfrm>
            <a:prstGeom prst="line">
              <a:avLst/>
            </a:prstGeom>
            <a:noFill/>
            <a:ln w="34925" cap="flat">
              <a:solidFill>
                <a:schemeClr val="bg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39" name="Line 193"/>
            <p:cNvSpPr>
              <a:spLocks noChangeShapeType="1"/>
            </p:cNvSpPr>
            <p:nvPr userDrawn="1"/>
          </p:nvSpPr>
          <p:spPr bwMode="auto">
            <a:xfrm flipH="1">
              <a:off x="9238600" y="5357021"/>
              <a:ext cx="0" cy="1637504"/>
            </a:xfrm>
            <a:prstGeom prst="line">
              <a:avLst/>
            </a:prstGeom>
            <a:noFill/>
            <a:ln w="34925" cap="flat">
              <a:solidFill>
                <a:schemeClr val="bg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40" name="Rectangle 194"/>
            <p:cNvSpPr>
              <a:spLocks noChangeArrowheads="1"/>
            </p:cNvSpPr>
            <p:nvPr userDrawn="1"/>
          </p:nvSpPr>
          <p:spPr bwMode="auto">
            <a:xfrm flipH="1">
              <a:off x="7210472" y="5961354"/>
              <a:ext cx="403361" cy="8633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41" name="Rectangle 195"/>
            <p:cNvSpPr>
              <a:spLocks noChangeArrowheads="1"/>
            </p:cNvSpPr>
            <p:nvPr userDrawn="1"/>
          </p:nvSpPr>
          <p:spPr bwMode="auto">
            <a:xfrm flipH="1">
              <a:off x="7210472" y="6111376"/>
              <a:ext cx="403361" cy="8633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42" name="Rectangle 196"/>
            <p:cNvSpPr>
              <a:spLocks noChangeArrowheads="1"/>
            </p:cNvSpPr>
            <p:nvPr userDrawn="1"/>
          </p:nvSpPr>
          <p:spPr bwMode="auto">
            <a:xfrm flipH="1">
              <a:off x="7210472" y="6267059"/>
              <a:ext cx="403361" cy="820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43" name="Rectangle 197"/>
            <p:cNvSpPr>
              <a:spLocks noChangeArrowheads="1"/>
            </p:cNvSpPr>
            <p:nvPr userDrawn="1"/>
          </p:nvSpPr>
          <p:spPr bwMode="auto">
            <a:xfrm flipH="1">
              <a:off x="7210472" y="6417081"/>
              <a:ext cx="403361" cy="8633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44" name="Rectangle 198"/>
            <p:cNvSpPr>
              <a:spLocks noChangeArrowheads="1"/>
            </p:cNvSpPr>
            <p:nvPr userDrawn="1"/>
          </p:nvSpPr>
          <p:spPr bwMode="auto">
            <a:xfrm flipH="1">
              <a:off x="7210472" y="6567103"/>
              <a:ext cx="403361" cy="8633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45" name="Rectangle 199"/>
            <p:cNvSpPr>
              <a:spLocks noChangeArrowheads="1"/>
            </p:cNvSpPr>
            <p:nvPr userDrawn="1"/>
          </p:nvSpPr>
          <p:spPr bwMode="auto">
            <a:xfrm flipH="1">
              <a:off x="7210472" y="6717125"/>
              <a:ext cx="403361" cy="8633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946" name="Rectangle 200"/>
            <p:cNvSpPr>
              <a:spLocks noChangeArrowheads="1"/>
            </p:cNvSpPr>
            <p:nvPr userDrawn="1"/>
          </p:nvSpPr>
          <p:spPr bwMode="auto">
            <a:xfrm flipH="1">
              <a:off x="7210472" y="6871393"/>
              <a:ext cx="403361" cy="820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94" name="Rectangle 148"/>
            <p:cNvSpPr>
              <a:spLocks noChangeArrowheads="1"/>
            </p:cNvSpPr>
            <p:nvPr userDrawn="1"/>
          </p:nvSpPr>
          <p:spPr bwMode="auto">
            <a:xfrm flipH="1">
              <a:off x="9680174" y="4720135"/>
              <a:ext cx="39628" cy="56470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grpSp>
          <p:nvGrpSpPr>
            <p:cNvPr id="119951" name="Group 208"/>
            <p:cNvGrpSpPr>
              <a:grpSpLocks noChangeAspect="1"/>
            </p:cNvGrpSpPr>
            <p:nvPr userDrawn="1"/>
          </p:nvGrpSpPr>
          <p:grpSpPr bwMode="auto">
            <a:xfrm>
              <a:off x="10069382" y="5611776"/>
              <a:ext cx="786908" cy="1379919"/>
              <a:chOff x="2428" y="3429"/>
              <a:chExt cx="556" cy="975"/>
            </a:xfrm>
          </p:grpSpPr>
          <p:sp>
            <p:nvSpPr>
              <p:cNvPr id="119953" name="Rectangle 209"/>
              <p:cNvSpPr>
                <a:spLocks noChangeArrowheads="1"/>
              </p:cNvSpPr>
              <p:nvPr userDrawn="1"/>
            </p:nvSpPr>
            <p:spPr bwMode="auto">
              <a:xfrm>
                <a:off x="2428" y="4093"/>
                <a:ext cx="390" cy="311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54" name="Freeform 210"/>
              <p:cNvSpPr>
                <a:spLocks/>
              </p:cNvSpPr>
              <p:nvPr userDrawn="1"/>
            </p:nvSpPr>
            <p:spPr bwMode="auto">
              <a:xfrm>
                <a:off x="2653" y="3530"/>
                <a:ext cx="331" cy="874"/>
              </a:xfrm>
              <a:custGeom>
                <a:avLst/>
                <a:gdLst>
                  <a:gd name="T0" fmla="*/ 0 w 331"/>
                  <a:gd name="T1" fmla="*/ 0 h 874"/>
                  <a:gd name="T2" fmla="*/ 331 w 331"/>
                  <a:gd name="T3" fmla="*/ 0 h 874"/>
                  <a:gd name="T4" fmla="*/ 331 w 331"/>
                  <a:gd name="T5" fmla="*/ 874 h 874"/>
                  <a:gd name="T6" fmla="*/ 0 w 331"/>
                  <a:gd name="T7" fmla="*/ 874 h 874"/>
                  <a:gd name="T8" fmla="*/ 0 w 331"/>
                  <a:gd name="T9" fmla="*/ 570 h 874"/>
                  <a:gd name="T10" fmla="*/ 0 w 331"/>
                  <a:gd name="T11" fmla="*/ 0 h 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1" h="874">
                    <a:moveTo>
                      <a:pt x="0" y="0"/>
                    </a:moveTo>
                    <a:lnTo>
                      <a:pt x="331" y="0"/>
                    </a:lnTo>
                    <a:lnTo>
                      <a:pt x="331" y="874"/>
                    </a:lnTo>
                    <a:lnTo>
                      <a:pt x="0" y="874"/>
                    </a:lnTo>
                    <a:lnTo>
                      <a:pt x="0" y="5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55" name="Freeform 211"/>
              <p:cNvSpPr>
                <a:spLocks/>
              </p:cNvSpPr>
              <p:nvPr userDrawn="1"/>
            </p:nvSpPr>
            <p:spPr bwMode="auto">
              <a:xfrm>
                <a:off x="2428" y="4100"/>
                <a:ext cx="225" cy="304"/>
              </a:xfrm>
              <a:custGeom>
                <a:avLst/>
                <a:gdLst>
                  <a:gd name="T0" fmla="*/ 0 w 225"/>
                  <a:gd name="T1" fmla="*/ 304 h 304"/>
                  <a:gd name="T2" fmla="*/ 225 w 225"/>
                  <a:gd name="T3" fmla="*/ 304 h 304"/>
                  <a:gd name="T4" fmla="*/ 225 w 225"/>
                  <a:gd name="T5" fmla="*/ 0 h 304"/>
                  <a:gd name="T6" fmla="*/ 0 w 225"/>
                  <a:gd name="T7" fmla="*/ 30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5" h="304">
                    <a:moveTo>
                      <a:pt x="0" y="304"/>
                    </a:moveTo>
                    <a:lnTo>
                      <a:pt x="225" y="304"/>
                    </a:lnTo>
                    <a:lnTo>
                      <a:pt x="225" y="0"/>
                    </a:lnTo>
                    <a:lnTo>
                      <a:pt x="0" y="304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56" name="Rectangle 212"/>
              <p:cNvSpPr>
                <a:spLocks noChangeArrowheads="1"/>
              </p:cNvSpPr>
              <p:nvPr userDrawn="1"/>
            </p:nvSpPr>
            <p:spPr bwMode="auto">
              <a:xfrm>
                <a:off x="2695" y="359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57" name="Rectangle 213"/>
              <p:cNvSpPr>
                <a:spLocks noChangeArrowheads="1"/>
              </p:cNvSpPr>
              <p:nvPr userDrawn="1"/>
            </p:nvSpPr>
            <p:spPr bwMode="auto">
              <a:xfrm>
                <a:off x="2766" y="359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58" name="Rectangle 214"/>
              <p:cNvSpPr>
                <a:spLocks noChangeArrowheads="1"/>
              </p:cNvSpPr>
              <p:nvPr userDrawn="1"/>
            </p:nvSpPr>
            <p:spPr bwMode="auto">
              <a:xfrm>
                <a:off x="2837" y="359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59" name="Rectangle 215"/>
              <p:cNvSpPr>
                <a:spLocks noChangeArrowheads="1"/>
              </p:cNvSpPr>
              <p:nvPr userDrawn="1"/>
            </p:nvSpPr>
            <p:spPr bwMode="auto">
              <a:xfrm>
                <a:off x="2908" y="359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60" name="Rectangle 216"/>
              <p:cNvSpPr>
                <a:spLocks noChangeArrowheads="1"/>
              </p:cNvSpPr>
              <p:nvPr userDrawn="1"/>
            </p:nvSpPr>
            <p:spPr bwMode="auto">
              <a:xfrm>
                <a:off x="2695" y="3685"/>
                <a:ext cx="33" cy="6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61" name="Rectangle 217"/>
              <p:cNvSpPr>
                <a:spLocks noChangeArrowheads="1"/>
              </p:cNvSpPr>
              <p:nvPr userDrawn="1"/>
            </p:nvSpPr>
            <p:spPr bwMode="auto">
              <a:xfrm>
                <a:off x="2766" y="3685"/>
                <a:ext cx="33" cy="6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62" name="Rectangle 218"/>
              <p:cNvSpPr>
                <a:spLocks noChangeArrowheads="1"/>
              </p:cNvSpPr>
              <p:nvPr userDrawn="1"/>
            </p:nvSpPr>
            <p:spPr bwMode="auto">
              <a:xfrm>
                <a:off x="2837" y="3685"/>
                <a:ext cx="33" cy="6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63" name="Rectangle 219"/>
              <p:cNvSpPr>
                <a:spLocks noChangeArrowheads="1"/>
              </p:cNvSpPr>
              <p:nvPr userDrawn="1"/>
            </p:nvSpPr>
            <p:spPr bwMode="auto">
              <a:xfrm>
                <a:off x="2908" y="3685"/>
                <a:ext cx="33" cy="6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64" name="Rectangle 220"/>
              <p:cNvSpPr>
                <a:spLocks noChangeArrowheads="1"/>
              </p:cNvSpPr>
              <p:nvPr userDrawn="1"/>
            </p:nvSpPr>
            <p:spPr bwMode="auto">
              <a:xfrm>
                <a:off x="2695" y="3779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65" name="Rectangle 221"/>
              <p:cNvSpPr>
                <a:spLocks noChangeArrowheads="1"/>
              </p:cNvSpPr>
              <p:nvPr userDrawn="1"/>
            </p:nvSpPr>
            <p:spPr bwMode="auto">
              <a:xfrm>
                <a:off x="2766" y="3779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66" name="Rectangle 222"/>
              <p:cNvSpPr>
                <a:spLocks noChangeArrowheads="1"/>
              </p:cNvSpPr>
              <p:nvPr userDrawn="1"/>
            </p:nvSpPr>
            <p:spPr bwMode="auto">
              <a:xfrm>
                <a:off x="2837" y="3779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67" name="Rectangle 223"/>
              <p:cNvSpPr>
                <a:spLocks noChangeArrowheads="1"/>
              </p:cNvSpPr>
              <p:nvPr userDrawn="1"/>
            </p:nvSpPr>
            <p:spPr bwMode="auto">
              <a:xfrm>
                <a:off x="2908" y="3779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24" name="Rectangle 224"/>
              <p:cNvSpPr>
                <a:spLocks noChangeArrowheads="1"/>
              </p:cNvSpPr>
              <p:nvPr userDrawn="1"/>
            </p:nvSpPr>
            <p:spPr bwMode="auto">
              <a:xfrm>
                <a:off x="2695" y="3871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25" name="Rectangle 225"/>
              <p:cNvSpPr>
                <a:spLocks noChangeArrowheads="1"/>
              </p:cNvSpPr>
              <p:nvPr userDrawn="1"/>
            </p:nvSpPr>
            <p:spPr bwMode="auto">
              <a:xfrm>
                <a:off x="2766" y="3871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26" name="Rectangle 226"/>
              <p:cNvSpPr>
                <a:spLocks noChangeArrowheads="1"/>
              </p:cNvSpPr>
              <p:nvPr userDrawn="1"/>
            </p:nvSpPr>
            <p:spPr bwMode="auto">
              <a:xfrm>
                <a:off x="2837" y="3871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27" name="Rectangle 227"/>
              <p:cNvSpPr>
                <a:spLocks noChangeArrowheads="1"/>
              </p:cNvSpPr>
              <p:nvPr userDrawn="1"/>
            </p:nvSpPr>
            <p:spPr bwMode="auto">
              <a:xfrm>
                <a:off x="2908" y="3871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28" name="Rectangle 228"/>
              <p:cNvSpPr>
                <a:spLocks noChangeArrowheads="1"/>
              </p:cNvSpPr>
              <p:nvPr userDrawn="1"/>
            </p:nvSpPr>
            <p:spPr bwMode="auto">
              <a:xfrm>
                <a:off x="2695" y="3966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29" name="Rectangle 229"/>
              <p:cNvSpPr>
                <a:spLocks noChangeArrowheads="1"/>
              </p:cNvSpPr>
              <p:nvPr userDrawn="1"/>
            </p:nvSpPr>
            <p:spPr bwMode="auto">
              <a:xfrm>
                <a:off x="2766" y="3966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0" name="Rectangle 230"/>
              <p:cNvSpPr>
                <a:spLocks noChangeArrowheads="1"/>
              </p:cNvSpPr>
              <p:nvPr userDrawn="1"/>
            </p:nvSpPr>
            <p:spPr bwMode="auto">
              <a:xfrm>
                <a:off x="2837" y="3966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1" name="Rectangle 231"/>
              <p:cNvSpPr>
                <a:spLocks noChangeArrowheads="1"/>
              </p:cNvSpPr>
              <p:nvPr userDrawn="1"/>
            </p:nvSpPr>
            <p:spPr bwMode="auto">
              <a:xfrm>
                <a:off x="2908" y="3966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2" name="Rectangle 232"/>
              <p:cNvSpPr>
                <a:spLocks noChangeArrowheads="1"/>
              </p:cNvSpPr>
              <p:nvPr userDrawn="1"/>
            </p:nvSpPr>
            <p:spPr bwMode="auto">
              <a:xfrm>
                <a:off x="2695" y="4057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3" name="Rectangle 233"/>
              <p:cNvSpPr>
                <a:spLocks noChangeArrowheads="1"/>
              </p:cNvSpPr>
              <p:nvPr userDrawn="1"/>
            </p:nvSpPr>
            <p:spPr bwMode="auto">
              <a:xfrm>
                <a:off x="2766" y="4057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4" name="Rectangle 234"/>
              <p:cNvSpPr>
                <a:spLocks noChangeArrowheads="1"/>
              </p:cNvSpPr>
              <p:nvPr userDrawn="1"/>
            </p:nvSpPr>
            <p:spPr bwMode="auto">
              <a:xfrm>
                <a:off x="2837" y="4057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5" name="Rectangle 235"/>
              <p:cNvSpPr>
                <a:spLocks noChangeArrowheads="1"/>
              </p:cNvSpPr>
              <p:nvPr userDrawn="1"/>
            </p:nvSpPr>
            <p:spPr bwMode="auto">
              <a:xfrm>
                <a:off x="2908" y="4057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6" name="Rectangle 236"/>
              <p:cNvSpPr>
                <a:spLocks noChangeArrowheads="1"/>
              </p:cNvSpPr>
              <p:nvPr userDrawn="1"/>
            </p:nvSpPr>
            <p:spPr bwMode="auto">
              <a:xfrm>
                <a:off x="2695" y="4152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37" name="Rectangle 237"/>
              <p:cNvSpPr>
                <a:spLocks noChangeArrowheads="1"/>
              </p:cNvSpPr>
              <p:nvPr userDrawn="1"/>
            </p:nvSpPr>
            <p:spPr bwMode="auto">
              <a:xfrm>
                <a:off x="2766" y="4152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43" name="Rectangle 238"/>
              <p:cNvSpPr>
                <a:spLocks noChangeArrowheads="1"/>
              </p:cNvSpPr>
              <p:nvPr userDrawn="1"/>
            </p:nvSpPr>
            <p:spPr bwMode="auto">
              <a:xfrm>
                <a:off x="2837" y="4152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46" name="Rectangle 239"/>
              <p:cNvSpPr>
                <a:spLocks noChangeArrowheads="1"/>
              </p:cNvSpPr>
              <p:nvPr userDrawn="1"/>
            </p:nvSpPr>
            <p:spPr bwMode="auto">
              <a:xfrm>
                <a:off x="2908" y="4152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47" name="Rectangle 240"/>
              <p:cNvSpPr>
                <a:spLocks noChangeArrowheads="1"/>
              </p:cNvSpPr>
              <p:nvPr userDrawn="1"/>
            </p:nvSpPr>
            <p:spPr bwMode="auto">
              <a:xfrm>
                <a:off x="2451" y="4152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48" name="Rectangle 241"/>
              <p:cNvSpPr>
                <a:spLocks noChangeArrowheads="1"/>
              </p:cNvSpPr>
              <p:nvPr userDrawn="1"/>
            </p:nvSpPr>
            <p:spPr bwMode="auto">
              <a:xfrm>
                <a:off x="2522" y="4152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49" name="Rectangle 242"/>
              <p:cNvSpPr>
                <a:spLocks noChangeArrowheads="1"/>
              </p:cNvSpPr>
              <p:nvPr userDrawn="1"/>
            </p:nvSpPr>
            <p:spPr bwMode="auto">
              <a:xfrm>
                <a:off x="2596" y="4152"/>
                <a:ext cx="33" cy="6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0" name="Rectangle 243"/>
              <p:cNvSpPr>
                <a:spLocks noChangeArrowheads="1"/>
              </p:cNvSpPr>
              <p:nvPr userDrawn="1"/>
            </p:nvSpPr>
            <p:spPr bwMode="auto">
              <a:xfrm>
                <a:off x="2451" y="424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1" name="Rectangle 244"/>
              <p:cNvSpPr>
                <a:spLocks noChangeArrowheads="1"/>
              </p:cNvSpPr>
              <p:nvPr userDrawn="1"/>
            </p:nvSpPr>
            <p:spPr bwMode="auto">
              <a:xfrm>
                <a:off x="2522" y="424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2" name="Rectangle 245"/>
              <p:cNvSpPr>
                <a:spLocks noChangeArrowheads="1"/>
              </p:cNvSpPr>
              <p:nvPr userDrawn="1"/>
            </p:nvSpPr>
            <p:spPr bwMode="auto">
              <a:xfrm>
                <a:off x="2596" y="424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3" name="Rectangle 246"/>
              <p:cNvSpPr>
                <a:spLocks noChangeArrowheads="1"/>
              </p:cNvSpPr>
              <p:nvPr userDrawn="1"/>
            </p:nvSpPr>
            <p:spPr bwMode="auto">
              <a:xfrm>
                <a:off x="2695" y="424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4" name="Rectangle 247"/>
              <p:cNvSpPr>
                <a:spLocks noChangeArrowheads="1"/>
              </p:cNvSpPr>
              <p:nvPr userDrawn="1"/>
            </p:nvSpPr>
            <p:spPr bwMode="auto">
              <a:xfrm>
                <a:off x="2766" y="424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55" name="Rectangle 248"/>
              <p:cNvSpPr>
                <a:spLocks noChangeArrowheads="1"/>
              </p:cNvSpPr>
              <p:nvPr userDrawn="1"/>
            </p:nvSpPr>
            <p:spPr bwMode="auto">
              <a:xfrm>
                <a:off x="2837" y="424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68" name="Rectangle 249"/>
              <p:cNvSpPr>
                <a:spLocks noChangeArrowheads="1"/>
              </p:cNvSpPr>
              <p:nvPr userDrawn="1"/>
            </p:nvSpPr>
            <p:spPr bwMode="auto">
              <a:xfrm>
                <a:off x="2908" y="4243"/>
                <a:ext cx="33" cy="6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69" name="Rectangle 250"/>
              <p:cNvSpPr>
                <a:spLocks noChangeArrowheads="1"/>
              </p:cNvSpPr>
              <p:nvPr userDrawn="1"/>
            </p:nvSpPr>
            <p:spPr bwMode="auto">
              <a:xfrm>
                <a:off x="2837" y="3469"/>
                <a:ext cx="104" cy="61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70" name="Rectangle 251"/>
              <p:cNvSpPr>
                <a:spLocks noChangeArrowheads="1"/>
              </p:cNvSpPr>
              <p:nvPr userDrawn="1"/>
            </p:nvSpPr>
            <p:spPr bwMode="auto">
              <a:xfrm>
                <a:off x="2728" y="3429"/>
                <a:ext cx="19" cy="10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19971" name="Group 254"/>
            <p:cNvGrpSpPr>
              <a:grpSpLocks noChangeAspect="1"/>
            </p:cNvGrpSpPr>
            <p:nvPr userDrawn="1"/>
          </p:nvGrpSpPr>
          <p:grpSpPr bwMode="auto">
            <a:xfrm>
              <a:off x="10852047" y="5361975"/>
              <a:ext cx="440159" cy="1631842"/>
              <a:chOff x="3002" y="3251"/>
              <a:chExt cx="311" cy="1153"/>
            </a:xfrm>
          </p:grpSpPr>
          <p:sp>
            <p:nvSpPr>
              <p:cNvPr id="119973" name="Rectangle 255"/>
              <p:cNvSpPr>
                <a:spLocks noChangeArrowheads="1"/>
              </p:cNvSpPr>
              <p:nvPr userDrawn="1"/>
            </p:nvSpPr>
            <p:spPr bwMode="auto">
              <a:xfrm>
                <a:off x="3002" y="3627"/>
                <a:ext cx="311" cy="777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74" name="Rectangle 256"/>
              <p:cNvSpPr>
                <a:spLocks noChangeArrowheads="1"/>
              </p:cNvSpPr>
              <p:nvPr userDrawn="1"/>
            </p:nvSpPr>
            <p:spPr bwMode="auto">
              <a:xfrm>
                <a:off x="3041" y="3403"/>
                <a:ext cx="235" cy="224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75" name="Freeform 257"/>
              <p:cNvSpPr>
                <a:spLocks/>
              </p:cNvSpPr>
              <p:nvPr userDrawn="1"/>
            </p:nvSpPr>
            <p:spPr bwMode="auto">
              <a:xfrm>
                <a:off x="3098" y="3251"/>
                <a:ext cx="120" cy="152"/>
              </a:xfrm>
              <a:custGeom>
                <a:avLst/>
                <a:gdLst>
                  <a:gd name="T0" fmla="*/ 83 w 120"/>
                  <a:gd name="T1" fmla="*/ 0 h 152"/>
                  <a:gd name="T2" fmla="*/ 37 w 120"/>
                  <a:gd name="T3" fmla="*/ 0 h 152"/>
                  <a:gd name="T4" fmla="*/ 0 w 120"/>
                  <a:gd name="T5" fmla="*/ 152 h 152"/>
                  <a:gd name="T6" fmla="*/ 120 w 120"/>
                  <a:gd name="T7" fmla="*/ 152 h 152"/>
                  <a:gd name="T8" fmla="*/ 83 w 120"/>
                  <a:gd name="T9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152">
                    <a:moveTo>
                      <a:pt x="83" y="0"/>
                    </a:moveTo>
                    <a:lnTo>
                      <a:pt x="37" y="0"/>
                    </a:lnTo>
                    <a:lnTo>
                      <a:pt x="0" y="152"/>
                    </a:lnTo>
                    <a:lnTo>
                      <a:pt x="120" y="152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76" name="Rectangle 258"/>
              <p:cNvSpPr>
                <a:spLocks noChangeArrowheads="1"/>
              </p:cNvSpPr>
              <p:nvPr userDrawn="1"/>
            </p:nvSpPr>
            <p:spPr bwMode="auto">
              <a:xfrm>
                <a:off x="3045" y="3679"/>
                <a:ext cx="35" cy="725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77" name="Rectangle 259"/>
              <p:cNvSpPr>
                <a:spLocks noChangeArrowheads="1"/>
              </p:cNvSpPr>
              <p:nvPr userDrawn="1"/>
            </p:nvSpPr>
            <p:spPr bwMode="auto">
              <a:xfrm>
                <a:off x="3110" y="3679"/>
                <a:ext cx="32" cy="725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78" name="Rectangle 260"/>
              <p:cNvSpPr>
                <a:spLocks noChangeArrowheads="1"/>
              </p:cNvSpPr>
              <p:nvPr userDrawn="1"/>
            </p:nvSpPr>
            <p:spPr bwMode="auto">
              <a:xfrm>
                <a:off x="3174" y="3679"/>
                <a:ext cx="33" cy="725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79" name="Rectangle 261"/>
              <p:cNvSpPr>
                <a:spLocks noChangeArrowheads="1"/>
              </p:cNvSpPr>
              <p:nvPr userDrawn="1"/>
            </p:nvSpPr>
            <p:spPr bwMode="auto">
              <a:xfrm>
                <a:off x="3237" y="3679"/>
                <a:ext cx="32" cy="725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80" name="Rectangle 262"/>
              <p:cNvSpPr>
                <a:spLocks noChangeArrowheads="1"/>
              </p:cNvSpPr>
              <p:nvPr userDrawn="1"/>
            </p:nvSpPr>
            <p:spPr bwMode="auto">
              <a:xfrm>
                <a:off x="3041" y="3403"/>
                <a:ext cx="235" cy="22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81" name="Rectangle 263"/>
              <p:cNvSpPr>
                <a:spLocks noChangeArrowheads="1"/>
              </p:cNvSpPr>
              <p:nvPr userDrawn="1"/>
            </p:nvSpPr>
            <p:spPr bwMode="auto">
              <a:xfrm>
                <a:off x="3002" y="3604"/>
                <a:ext cx="311" cy="23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  <p:grpSp>
          <p:nvGrpSpPr>
            <p:cNvPr id="119982" name="Group 266"/>
            <p:cNvGrpSpPr>
              <a:grpSpLocks noChangeAspect="1"/>
            </p:cNvGrpSpPr>
            <p:nvPr userDrawn="1"/>
          </p:nvGrpSpPr>
          <p:grpSpPr bwMode="auto">
            <a:xfrm>
              <a:off x="11322632" y="5539595"/>
              <a:ext cx="1113843" cy="1454930"/>
              <a:chOff x="3318" y="3380"/>
              <a:chExt cx="787" cy="1028"/>
            </a:xfrm>
          </p:grpSpPr>
          <p:sp>
            <p:nvSpPr>
              <p:cNvPr id="119984" name="Freeform 267"/>
              <p:cNvSpPr>
                <a:spLocks/>
              </p:cNvSpPr>
              <p:nvPr userDrawn="1"/>
            </p:nvSpPr>
            <p:spPr bwMode="auto">
              <a:xfrm>
                <a:off x="3775" y="3496"/>
                <a:ext cx="228" cy="30"/>
              </a:xfrm>
              <a:custGeom>
                <a:avLst/>
                <a:gdLst>
                  <a:gd name="T0" fmla="*/ 191 w 228"/>
                  <a:gd name="T1" fmla="*/ 0 h 30"/>
                  <a:gd name="T2" fmla="*/ 0 w 228"/>
                  <a:gd name="T3" fmla="*/ 0 h 30"/>
                  <a:gd name="T4" fmla="*/ 39 w 228"/>
                  <a:gd name="T5" fmla="*/ 30 h 30"/>
                  <a:gd name="T6" fmla="*/ 228 w 228"/>
                  <a:gd name="T7" fmla="*/ 30 h 30"/>
                  <a:gd name="T8" fmla="*/ 191 w 228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30">
                    <a:moveTo>
                      <a:pt x="191" y="0"/>
                    </a:moveTo>
                    <a:lnTo>
                      <a:pt x="0" y="0"/>
                    </a:lnTo>
                    <a:lnTo>
                      <a:pt x="39" y="30"/>
                    </a:lnTo>
                    <a:lnTo>
                      <a:pt x="228" y="30"/>
                    </a:lnTo>
                    <a:lnTo>
                      <a:pt x="191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85" name="Freeform 268"/>
              <p:cNvSpPr>
                <a:spLocks/>
              </p:cNvSpPr>
              <p:nvPr userDrawn="1"/>
            </p:nvSpPr>
            <p:spPr bwMode="auto">
              <a:xfrm>
                <a:off x="3775" y="3496"/>
                <a:ext cx="39" cy="139"/>
              </a:xfrm>
              <a:custGeom>
                <a:avLst/>
                <a:gdLst>
                  <a:gd name="T0" fmla="*/ 0 w 39"/>
                  <a:gd name="T1" fmla="*/ 128 h 139"/>
                  <a:gd name="T2" fmla="*/ 0 w 39"/>
                  <a:gd name="T3" fmla="*/ 0 h 139"/>
                  <a:gd name="T4" fmla="*/ 39 w 39"/>
                  <a:gd name="T5" fmla="*/ 30 h 139"/>
                  <a:gd name="T6" fmla="*/ 39 w 39"/>
                  <a:gd name="T7" fmla="*/ 128 h 139"/>
                  <a:gd name="T8" fmla="*/ 39 w 39"/>
                  <a:gd name="T9" fmla="*/ 139 h 139"/>
                  <a:gd name="T10" fmla="*/ 0 w 39"/>
                  <a:gd name="T11" fmla="*/ 139 h 139"/>
                  <a:gd name="T12" fmla="*/ 0 w 39"/>
                  <a:gd name="T13" fmla="*/ 128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39">
                    <a:moveTo>
                      <a:pt x="0" y="128"/>
                    </a:moveTo>
                    <a:lnTo>
                      <a:pt x="0" y="0"/>
                    </a:lnTo>
                    <a:lnTo>
                      <a:pt x="39" y="30"/>
                    </a:lnTo>
                    <a:lnTo>
                      <a:pt x="39" y="128"/>
                    </a:lnTo>
                    <a:lnTo>
                      <a:pt x="39" y="139"/>
                    </a:lnTo>
                    <a:lnTo>
                      <a:pt x="0" y="139"/>
                    </a:lnTo>
                    <a:lnTo>
                      <a:pt x="0" y="128"/>
                    </a:ln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86" name="Rectangle 269"/>
              <p:cNvSpPr>
                <a:spLocks noChangeArrowheads="1"/>
              </p:cNvSpPr>
              <p:nvPr userDrawn="1"/>
            </p:nvSpPr>
            <p:spPr bwMode="auto">
              <a:xfrm>
                <a:off x="3814" y="3526"/>
                <a:ext cx="189" cy="98"/>
              </a:xfrm>
              <a:prstGeom prst="rect">
                <a:avLst/>
              </a:prstGeom>
              <a:solidFill>
                <a:srgbClr val="9CD9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87" name="Freeform 270"/>
              <p:cNvSpPr>
                <a:spLocks noEditPoints="1"/>
              </p:cNvSpPr>
              <p:nvPr userDrawn="1"/>
            </p:nvSpPr>
            <p:spPr bwMode="auto">
              <a:xfrm>
                <a:off x="3814" y="3526"/>
                <a:ext cx="189" cy="98"/>
              </a:xfrm>
              <a:custGeom>
                <a:avLst/>
                <a:gdLst>
                  <a:gd name="T0" fmla="*/ 186 w 189"/>
                  <a:gd name="T1" fmla="*/ 5 h 98"/>
                  <a:gd name="T2" fmla="*/ 186 w 189"/>
                  <a:gd name="T3" fmla="*/ 93 h 98"/>
                  <a:gd name="T4" fmla="*/ 4 w 189"/>
                  <a:gd name="T5" fmla="*/ 93 h 98"/>
                  <a:gd name="T6" fmla="*/ 4 w 189"/>
                  <a:gd name="T7" fmla="*/ 5 h 98"/>
                  <a:gd name="T8" fmla="*/ 186 w 189"/>
                  <a:gd name="T9" fmla="*/ 5 h 98"/>
                  <a:gd name="T10" fmla="*/ 189 w 189"/>
                  <a:gd name="T11" fmla="*/ 0 h 98"/>
                  <a:gd name="T12" fmla="*/ 0 w 189"/>
                  <a:gd name="T13" fmla="*/ 0 h 98"/>
                  <a:gd name="T14" fmla="*/ 0 w 189"/>
                  <a:gd name="T15" fmla="*/ 98 h 98"/>
                  <a:gd name="T16" fmla="*/ 189 w 189"/>
                  <a:gd name="T17" fmla="*/ 98 h 98"/>
                  <a:gd name="T18" fmla="*/ 189 w 189"/>
                  <a:gd name="T19" fmla="*/ 0 h 98"/>
                  <a:gd name="T20" fmla="*/ 189 w 189"/>
                  <a:gd name="T21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" h="98">
                    <a:moveTo>
                      <a:pt x="186" y="5"/>
                    </a:moveTo>
                    <a:lnTo>
                      <a:pt x="186" y="93"/>
                    </a:lnTo>
                    <a:lnTo>
                      <a:pt x="4" y="93"/>
                    </a:lnTo>
                    <a:lnTo>
                      <a:pt x="4" y="5"/>
                    </a:lnTo>
                    <a:lnTo>
                      <a:pt x="186" y="5"/>
                    </a:lnTo>
                    <a:close/>
                    <a:moveTo>
                      <a:pt x="189" y="0"/>
                    </a:moveTo>
                    <a:lnTo>
                      <a:pt x="0" y="0"/>
                    </a:lnTo>
                    <a:lnTo>
                      <a:pt x="0" y="98"/>
                    </a:lnTo>
                    <a:lnTo>
                      <a:pt x="189" y="98"/>
                    </a:lnTo>
                    <a:lnTo>
                      <a:pt x="189" y="0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rgbClr val="6DC2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88" name="Freeform 271"/>
              <p:cNvSpPr>
                <a:spLocks noEditPoints="1"/>
              </p:cNvSpPr>
              <p:nvPr userDrawn="1"/>
            </p:nvSpPr>
            <p:spPr bwMode="auto">
              <a:xfrm>
                <a:off x="3814" y="3526"/>
                <a:ext cx="189" cy="98"/>
              </a:xfrm>
              <a:custGeom>
                <a:avLst/>
                <a:gdLst>
                  <a:gd name="T0" fmla="*/ 186 w 189"/>
                  <a:gd name="T1" fmla="*/ 5 h 98"/>
                  <a:gd name="T2" fmla="*/ 186 w 189"/>
                  <a:gd name="T3" fmla="*/ 93 h 98"/>
                  <a:gd name="T4" fmla="*/ 4 w 189"/>
                  <a:gd name="T5" fmla="*/ 93 h 98"/>
                  <a:gd name="T6" fmla="*/ 4 w 189"/>
                  <a:gd name="T7" fmla="*/ 5 h 98"/>
                  <a:gd name="T8" fmla="*/ 186 w 189"/>
                  <a:gd name="T9" fmla="*/ 5 h 98"/>
                  <a:gd name="T10" fmla="*/ 189 w 189"/>
                  <a:gd name="T11" fmla="*/ 0 h 98"/>
                  <a:gd name="T12" fmla="*/ 0 w 189"/>
                  <a:gd name="T13" fmla="*/ 0 h 98"/>
                  <a:gd name="T14" fmla="*/ 0 w 189"/>
                  <a:gd name="T15" fmla="*/ 98 h 98"/>
                  <a:gd name="T16" fmla="*/ 189 w 189"/>
                  <a:gd name="T17" fmla="*/ 98 h 98"/>
                  <a:gd name="T18" fmla="*/ 189 w 189"/>
                  <a:gd name="T19" fmla="*/ 0 h 98"/>
                  <a:gd name="T20" fmla="*/ 189 w 189"/>
                  <a:gd name="T21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" h="98">
                    <a:moveTo>
                      <a:pt x="186" y="5"/>
                    </a:moveTo>
                    <a:lnTo>
                      <a:pt x="186" y="93"/>
                    </a:lnTo>
                    <a:lnTo>
                      <a:pt x="4" y="93"/>
                    </a:lnTo>
                    <a:lnTo>
                      <a:pt x="4" y="5"/>
                    </a:lnTo>
                    <a:lnTo>
                      <a:pt x="186" y="5"/>
                    </a:lnTo>
                    <a:moveTo>
                      <a:pt x="189" y="0"/>
                    </a:moveTo>
                    <a:lnTo>
                      <a:pt x="0" y="0"/>
                    </a:lnTo>
                    <a:lnTo>
                      <a:pt x="0" y="98"/>
                    </a:lnTo>
                    <a:lnTo>
                      <a:pt x="189" y="98"/>
                    </a:lnTo>
                    <a:lnTo>
                      <a:pt x="189" y="0"/>
                    </a:lnTo>
                    <a:lnTo>
                      <a:pt x="18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89" name="Line 272"/>
              <p:cNvSpPr>
                <a:spLocks noChangeShapeType="1"/>
              </p:cNvSpPr>
              <p:nvPr userDrawn="1"/>
            </p:nvSpPr>
            <p:spPr bwMode="auto">
              <a:xfrm flipV="1">
                <a:off x="3850" y="3526"/>
                <a:ext cx="0" cy="98"/>
              </a:xfrm>
              <a:prstGeom prst="line">
                <a:avLst/>
              </a:prstGeom>
              <a:noFill/>
              <a:ln w="9525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90" name="Line 273"/>
              <p:cNvSpPr>
                <a:spLocks noChangeShapeType="1"/>
              </p:cNvSpPr>
              <p:nvPr userDrawn="1"/>
            </p:nvSpPr>
            <p:spPr bwMode="auto">
              <a:xfrm flipV="1">
                <a:off x="3889" y="3526"/>
                <a:ext cx="0" cy="98"/>
              </a:xfrm>
              <a:prstGeom prst="line">
                <a:avLst/>
              </a:prstGeom>
              <a:noFill/>
              <a:ln w="9525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91" name="Line 274"/>
              <p:cNvSpPr>
                <a:spLocks noChangeShapeType="1"/>
              </p:cNvSpPr>
              <p:nvPr userDrawn="1"/>
            </p:nvSpPr>
            <p:spPr bwMode="auto">
              <a:xfrm flipV="1">
                <a:off x="3928" y="3526"/>
                <a:ext cx="0" cy="98"/>
              </a:xfrm>
              <a:prstGeom prst="line">
                <a:avLst/>
              </a:prstGeom>
              <a:noFill/>
              <a:ln w="9525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92" name="Line 275"/>
              <p:cNvSpPr>
                <a:spLocks noChangeShapeType="1"/>
              </p:cNvSpPr>
              <p:nvPr userDrawn="1"/>
            </p:nvSpPr>
            <p:spPr bwMode="auto">
              <a:xfrm flipV="1">
                <a:off x="3967" y="3526"/>
                <a:ext cx="0" cy="98"/>
              </a:xfrm>
              <a:prstGeom prst="line">
                <a:avLst/>
              </a:prstGeom>
              <a:noFill/>
              <a:ln w="9525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93" name="Line 276"/>
              <p:cNvSpPr>
                <a:spLocks noChangeShapeType="1"/>
              </p:cNvSpPr>
              <p:nvPr userDrawn="1"/>
            </p:nvSpPr>
            <p:spPr bwMode="auto">
              <a:xfrm>
                <a:off x="3814" y="3558"/>
                <a:ext cx="186" cy="0"/>
              </a:xfrm>
              <a:prstGeom prst="line">
                <a:avLst/>
              </a:prstGeom>
              <a:noFill/>
              <a:ln w="9525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94" name="Line 277"/>
              <p:cNvSpPr>
                <a:spLocks noChangeShapeType="1"/>
              </p:cNvSpPr>
              <p:nvPr userDrawn="1"/>
            </p:nvSpPr>
            <p:spPr bwMode="auto">
              <a:xfrm>
                <a:off x="3814" y="3592"/>
                <a:ext cx="186" cy="0"/>
              </a:xfrm>
              <a:prstGeom prst="line">
                <a:avLst/>
              </a:prstGeom>
              <a:noFill/>
              <a:ln w="9525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95" name="Rectangle 278"/>
              <p:cNvSpPr>
                <a:spLocks noChangeArrowheads="1"/>
              </p:cNvSpPr>
              <p:nvPr userDrawn="1"/>
            </p:nvSpPr>
            <p:spPr bwMode="auto">
              <a:xfrm>
                <a:off x="3389" y="3922"/>
                <a:ext cx="223" cy="363"/>
              </a:xfrm>
              <a:prstGeom prst="rect">
                <a:avLst/>
              </a:prstGeom>
              <a:solidFill>
                <a:srgbClr val="309C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96" name="Rectangle 279"/>
              <p:cNvSpPr>
                <a:spLocks noChangeArrowheads="1"/>
              </p:cNvSpPr>
              <p:nvPr userDrawn="1"/>
            </p:nvSpPr>
            <p:spPr bwMode="auto">
              <a:xfrm>
                <a:off x="3452" y="3877"/>
                <a:ext cx="91" cy="93"/>
              </a:xfrm>
              <a:prstGeom prst="rect">
                <a:avLst/>
              </a:prstGeom>
              <a:solidFill>
                <a:srgbClr val="309C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97" name="Rectangle 280"/>
              <p:cNvSpPr>
                <a:spLocks noChangeArrowheads="1"/>
              </p:cNvSpPr>
              <p:nvPr userDrawn="1"/>
            </p:nvSpPr>
            <p:spPr bwMode="auto">
              <a:xfrm>
                <a:off x="3411" y="3544"/>
                <a:ext cx="287" cy="76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98" name="Rectangle 281"/>
              <p:cNvSpPr>
                <a:spLocks noChangeArrowheads="1"/>
              </p:cNvSpPr>
              <p:nvPr userDrawn="1"/>
            </p:nvSpPr>
            <p:spPr bwMode="auto">
              <a:xfrm>
                <a:off x="3318" y="3620"/>
                <a:ext cx="787" cy="788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19999" name="Rectangle 282"/>
              <p:cNvSpPr>
                <a:spLocks noChangeArrowheads="1"/>
              </p:cNvSpPr>
              <p:nvPr userDrawn="1"/>
            </p:nvSpPr>
            <p:spPr bwMode="auto">
              <a:xfrm>
                <a:off x="3318" y="3649"/>
                <a:ext cx="787" cy="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88" name="Rectangle 283"/>
              <p:cNvSpPr>
                <a:spLocks noChangeArrowheads="1"/>
              </p:cNvSpPr>
              <p:nvPr userDrawn="1"/>
            </p:nvSpPr>
            <p:spPr bwMode="auto">
              <a:xfrm>
                <a:off x="3363" y="3694"/>
                <a:ext cx="55" cy="11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89" name="Rectangle 284"/>
              <p:cNvSpPr>
                <a:spLocks noChangeArrowheads="1"/>
              </p:cNvSpPr>
              <p:nvPr userDrawn="1"/>
            </p:nvSpPr>
            <p:spPr bwMode="auto">
              <a:xfrm>
                <a:off x="3354" y="3749"/>
                <a:ext cx="73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0" name="Rectangle 285"/>
              <p:cNvSpPr>
                <a:spLocks noChangeArrowheads="1"/>
              </p:cNvSpPr>
              <p:nvPr userDrawn="1"/>
            </p:nvSpPr>
            <p:spPr bwMode="auto">
              <a:xfrm>
                <a:off x="3491" y="3694"/>
                <a:ext cx="55" cy="11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1" name="Rectangle 286"/>
              <p:cNvSpPr>
                <a:spLocks noChangeArrowheads="1"/>
              </p:cNvSpPr>
              <p:nvPr userDrawn="1"/>
            </p:nvSpPr>
            <p:spPr bwMode="auto">
              <a:xfrm>
                <a:off x="3482" y="3749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2" name="Rectangle 287"/>
              <p:cNvSpPr>
                <a:spLocks noChangeArrowheads="1"/>
              </p:cNvSpPr>
              <p:nvPr userDrawn="1"/>
            </p:nvSpPr>
            <p:spPr bwMode="auto">
              <a:xfrm>
                <a:off x="3619" y="3694"/>
                <a:ext cx="56" cy="11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3" name="Rectangle 288"/>
              <p:cNvSpPr>
                <a:spLocks noChangeArrowheads="1"/>
              </p:cNvSpPr>
              <p:nvPr userDrawn="1"/>
            </p:nvSpPr>
            <p:spPr bwMode="auto">
              <a:xfrm>
                <a:off x="3611" y="3749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4" name="Rectangle 289"/>
              <p:cNvSpPr>
                <a:spLocks noChangeArrowheads="1"/>
              </p:cNvSpPr>
              <p:nvPr userDrawn="1"/>
            </p:nvSpPr>
            <p:spPr bwMode="auto">
              <a:xfrm>
                <a:off x="3748" y="3694"/>
                <a:ext cx="55" cy="11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5" name="Rectangle 290"/>
              <p:cNvSpPr>
                <a:spLocks noChangeArrowheads="1"/>
              </p:cNvSpPr>
              <p:nvPr userDrawn="1"/>
            </p:nvSpPr>
            <p:spPr bwMode="auto">
              <a:xfrm>
                <a:off x="3739" y="3749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6" name="Rectangle 291"/>
              <p:cNvSpPr>
                <a:spLocks noChangeArrowheads="1"/>
              </p:cNvSpPr>
              <p:nvPr userDrawn="1"/>
            </p:nvSpPr>
            <p:spPr bwMode="auto">
              <a:xfrm>
                <a:off x="3876" y="3694"/>
                <a:ext cx="56" cy="11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7" name="Rectangle 292"/>
              <p:cNvSpPr>
                <a:spLocks noChangeArrowheads="1"/>
              </p:cNvSpPr>
              <p:nvPr userDrawn="1"/>
            </p:nvSpPr>
            <p:spPr bwMode="auto">
              <a:xfrm>
                <a:off x="3868" y="3749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8" name="Rectangle 293"/>
              <p:cNvSpPr>
                <a:spLocks noChangeArrowheads="1"/>
              </p:cNvSpPr>
              <p:nvPr userDrawn="1"/>
            </p:nvSpPr>
            <p:spPr bwMode="auto">
              <a:xfrm>
                <a:off x="4005" y="3694"/>
                <a:ext cx="55" cy="11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299" name="Rectangle 294"/>
              <p:cNvSpPr>
                <a:spLocks noChangeArrowheads="1"/>
              </p:cNvSpPr>
              <p:nvPr userDrawn="1"/>
            </p:nvSpPr>
            <p:spPr bwMode="auto">
              <a:xfrm>
                <a:off x="3996" y="3749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00" name="Rectangle 295"/>
              <p:cNvSpPr>
                <a:spLocks noChangeArrowheads="1"/>
              </p:cNvSpPr>
              <p:nvPr userDrawn="1"/>
            </p:nvSpPr>
            <p:spPr bwMode="auto">
              <a:xfrm>
                <a:off x="3363" y="3845"/>
                <a:ext cx="55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01" name="Rectangle 296"/>
              <p:cNvSpPr>
                <a:spLocks noChangeArrowheads="1"/>
              </p:cNvSpPr>
              <p:nvPr userDrawn="1"/>
            </p:nvSpPr>
            <p:spPr bwMode="auto">
              <a:xfrm>
                <a:off x="3354" y="3902"/>
                <a:ext cx="73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03" name="Rectangle 297"/>
              <p:cNvSpPr>
                <a:spLocks noChangeArrowheads="1"/>
              </p:cNvSpPr>
              <p:nvPr userDrawn="1"/>
            </p:nvSpPr>
            <p:spPr bwMode="auto">
              <a:xfrm>
                <a:off x="3491" y="3845"/>
                <a:ext cx="55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04" name="Rectangle 298"/>
              <p:cNvSpPr>
                <a:spLocks noChangeArrowheads="1"/>
              </p:cNvSpPr>
              <p:nvPr userDrawn="1"/>
            </p:nvSpPr>
            <p:spPr bwMode="auto">
              <a:xfrm>
                <a:off x="3482" y="3902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05" name="Rectangle 299"/>
              <p:cNvSpPr>
                <a:spLocks noChangeArrowheads="1"/>
              </p:cNvSpPr>
              <p:nvPr userDrawn="1"/>
            </p:nvSpPr>
            <p:spPr bwMode="auto">
              <a:xfrm>
                <a:off x="3619" y="3845"/>
                <a:ext cx="56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06" name="Rectangle 300"/>
              <p:cNvSpPr>
                <a:spLocks noChangeArrowheads="1"/>
              </p:cNvSpPr>
              <p:nvPr userDrawn="1"/>
            </p:nvSpPr>
            <p:spPr bwMode="auto">
              <a:xfrm>
                <a:off x="3611" y="3902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07" name="Rectangle 301"/>
              <p:cNvSpPr>
                <a:spLocks noChangeArrowheads="1"/>
              </p:cNvSpPr>
              <p:nvPr userDrawn="1"/>
            </p:nvSpPr>
            <p:spPr bwMode="auto">
              <a:xfrm>
                <a:off x="3748" y="3845"/>
                <a:ext cx="55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08" name="Rectangle 302"/>
              <p:cNvSpPr>
                <a:spLocks noChangeArrowheads="1"/>
              </p:cNvSpPr>
              <p:nvPr userDrawn="1"/>
            </p:nvSpPr>
            <p:spPr bwMode="auto">
              <a:xfrm>
                <a:off x="3739" y="3902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09" name="Rectangle 303"/>
              <p:cNvSpPr>
                <a:spLocks noChangeArrowheads="1"/>
              </p:cNvSpPr>
              <p:nvPr userDrawn="1"/>
            </p:nvSpPr>
            <p:spPr bwMode="auto">
              <a:xfrm>
                <a:off x="3876" y="3845"/>
                <a:ext cx="56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10" name="Rectangle 304"/>
              <p:cNvSpPr>
                <a:spLocks noChangeArrowheads="1"/>
              </p:cNvSpPr>
              <p:nvPr userDrawn="1"/>
            </p:nvSpPr>
            <p:spPr bwMode="auto">
              <a:xfrm>
                <a:off x="3868" y="3902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11" name="Rectangle 305"/>
              <p:cNvSpPr>
                <a:spLocks noChangeArrowheads="1"/>
              </p:cNvSpPr>
              <p:nvPr userDrawn="1"/>
            </p:nvSpPr>
            <p:spPr bwMode="auto">
              <a:xfrm>
                <a:off x="4005" y="3845"/>
                <a:ext cx="55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12" name="Rectangle 306"/>
              <p:cNvSpPr>
                <a:spLocks noChangeArrowheads="1"/>
              </p:cNvSpPr>
              <p:nvPr userDrawn="1"/>
            </p:nvSpPr>
            <p:spPr bwMode="auto">
              <a:xfrm>
                <a:off x="3996" y="3902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13" name="Rectangle 307"/>
              <p:cNvSpPr>
                <a:spLocks noChangeArrowheads="1"/>
              </p:cNvSpPr>
              <p:nvPr userDrawn="1"/>
            </p:nvSpPr>
            <p:spPr bwMode="auto">
              <a:xfrm>
                <a:off x="3363" y="3998"/>
                <a:ext cx="55" cy="11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14" name="Rectangle 308"/>
              <p:cNvSpPr>
                <a:spLocks noChangeArrowheads="1"/>
              </p:cNvSpPr>
              <p:nvPr userDrawn="1"/>
            </p:nvSpPr>
            <p:spPr bwMode="auto">
              <a:xfrm>
                <a:off x="3354" y="4055"/>
                <a:ext cx="73" cy="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15" name="Rectangle 309"/>
              <p:cNvSpPr>
                <a:spLocks noChangeArrowheads="1"/>
              </p:cNvSpPr>
              <p:nvPr userDrawn="1"/>
            </p:nvSpPr>
            <p:spPr bwMode="auto">
              <a:xfrm>
                <a:off x="3491" y="3998"/>
                <a:ext cx="55" cy="11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16" name="Rectangle 310"/>
              <p:cNvSpPr>
                <a:spLocks noChangeArrowheads="1"/>
              </p:cNvSpPr>
              <p:nvPr userDrawn="1"/>
            </p:nvSpPr>
            <p:spPr bwMode="auto">
              <a:xfrm>
                <a:off x="3482" y="4055"/>
                <a:ext cx="71" cy="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17" name="Rectangle 311"/>
              <p:cNvSpPr>
                <a:spLocks noChangeArrowheads="1"/>
              </p:cNvSpPr>
              <p:nvPr userDrawn="1"/>
            </p:nvSpPr>
            <p:spPr bwMode="auto">
              <a:xfrm>
                <a:off x="3619" y="3998"/>
                <a:ext cx="56" cy="11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18" name="Rectangle 312"/>
              <p:cNvSpPr>
                <a:spLocks noChangeArrowheads="1"/>
              </p:cNvSpPr>
              <p:nvPr userDrawn="1"/>
            </p:nvSpPr>
            <p:spPr bwMode="auto">
              <a:xfrm>
                <a:off x="3611" y="4055"/>
                <a:ext cx="71" cy="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319" name="Rectangle 313"/>
              <p:cNvSpPr>
                <a:spLocks noChangeArrowheads="1"/>
              </p:cNvSpPr>
              <p:nvPr userDrawn="1"/>
            </p:nvSpPr>
            <p:spPr bwMode="auto">
              <a:xfrm>
                <a:off x="3748" y="3998"/>
                <a:ext cx="55" cy="11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00" name="Rectangle 314"/>
              <p:cNvSpPr>
                <a:spLocks noChangeArrowheads="1"/>
              </p:cNvSpPr>
              <p:nvPr userDrawn="1"/>
            </p:nvSpPr>
            <p:spPr bwMode="auto">
              <a:xfrm>
                <a:off x="3739" y="4055"/>
                <a:ext cx="71" cy="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01" name="Rectangle 315"/>
              <p:cNvSpPr>
                <a:spLocks noChangeArrowheads="1"/>
              </p:cNvSpPr>
              <p:nvPr userDrawn="1"/>
            </p:nvSpPr>
            <p:spPr bwMode="auto">
              <a:xfrm>
                <a:off x="3876" y="3998"/>
                <a:ext cx="56" cy="11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02" name="Rectangle 316"/>
              <p:cNvSpPr>
                <a:spLocks noChangeArrowheads="1"/>
              </p:cNvSpPr>
              <p:nvPr userDrawn="1"/>
            </p:nvSpPr>
            <p:spPr bwMode="auto">
              <a:xfrm>
                <a:off x="3868" y="4055"/>
                <a:ext cx="71" cy="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03" name="Rectangle 317"/>
              <p:cNvSpPr>
                <a:spLocks noChangeArrowheads="1"/>
              </p:cNvSpPr>
              <p:nvPr userDrawn="1"/>
            </p:nvSpPr>
            <p:spPr bwMode="auto">
              <a:xfrm>
                <a:off x="4005" y="3998"/>
                <a:ext cx="55" cy="11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04" name="Rectangle 318"/>
              <p:cNvSpPr>
                <a:spLocks noChangeArrowheads="1"/>
              </p:cNvSpPr>
              <p:nvPr userDrawn="1"/>
            </p:nvSpPr>
            <p:spPr bwMode="auto">
              <a:xfrm>
                <a:off x="3996" y="4055"/>
                <a:ext cx="71" cy="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05" name="Rectangle 319"/>
              <p:cNvSpPr>
                <a:spLocks noChangeArrowheads="1"/>
              </p:cNvSpPr>
              <p:nvPr userDrawn="1"/>
            </p:nvSpPr>
            <p:spPr bwMode="auto">
              <a:xfrm>
                <a:off x="3363" y="4151"/>
                <a:ext cx="55" cy="1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06" name="Rectangle 320"/>
              <p:cNvSpPr>
                <a:spLocks noChangeArrowheads="1"/>
              </p:cNvSpPr>
              <p:nvPr userDrawn="1"/>
            </p:nvSpPr>
            <p:spPr bwMode="auto">
              <a:xfrm>
                <a:off x="3354" y="4207"/>
                <a:ext cx="73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07" name="Rectangle 321"/>
              <p:cNvSpPr>
                <a:spLocks noChangeArrowheads="1"/>
              </p:cNvSpPr>
              <p:nvPr userDrawn="1"/>
            </p:nvSpPr>
            <p:spPr bwMode="auto">
              <a:xfrm>
                <a:off x="3491" y="4151"/>
                <a:ext cx="55" cy="1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08" name="Rectangle 322"/>
              <p:cNvSpPr>
                <a:spLocks noChangeArrowheads="1"/>
              </p:cNvSpPr>
              <p:nvPr userDrawn="1"/>
            </p:nvSpPr>
            <p:spPr bwMode="auto">
              <a:xfrm>
                <a:off x="3482" y="4207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09" name="Rectangle 323"/>
              <p:cNvSpPr>
                <a:spLocks noChangeArrowheads="1"/>
              </p:cNvSpPr>
              <p:nvPr userDrawn="1"/>
            </p:nvSpPr>
            <p:spPr bwMode="auto">
              <a:xfrm>
                <a:off x="3491" y="4360"/>
                <a:ext cx="55" cy="4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10" name="Rectangle 324"/>
              <p:cNvSpPr>
                <a:spLocks noChangeArrowheads="1"/>
              </p:cNvSpPr>
              <p:nvPr userDrawn="1"/>
            </p:nvSpPr>
            <p:spPr bwMode="auto">
              <a:xfrm>
                <a:off x="3363" y="4360"/>
                <a:ext cx="55" cy="4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11" name="Rectangle 325"/>
              <p:cNvSpPr>
                <a:spLocks noChangeArrowheads="1"/>
              </p:cNvSpPr>
              <p:nvPr userDrawn="1"/>
            </p:nvSpPr>
            <p:spPr bwMode="auto">
              <a:xfrm>
                <a:off x="4003" y="4361"/>
                <a:ext cx="55" cy="4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12" name="Rectangle 326"/>
              <p:cNvSpPr>
                <a:spLocks noChangeArrowheads="1"/>
              </p:cNvSpPr>
              <p:nvPr userDrawn="1"/>
            </p:nvSpPr>
            <p:spPr bwMode="auto">
              <a:xfrm>
                <a:off x="3875" y="4361"/>
                <a:ext cx="55" cy="4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13" name="Rectangle 327"/>
              <p:cNvSpPr>
                <a:spLocks noChangeArrowheads="1"/>
              </p:cNvSpPr>
              <p:nvPr userDrawn="1"/>
            </p:nvSpPr>
            <p:spPr bwMode="auto">
              <a:xfrm>
                <a:off x="3876" y="4151"/>
                <a:ext cx="56" cy="1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14" name="Rectangle 328"/>
              <p:cNvSpPr>
                <a:spLocks noChangeArrowheads="1"/>
              </p:cNvSpPr>
              <p:nvPr userDrawn="1"/>
            </p:nvSpPr>
            <p:spPr bwMode="auto">
              <a:xfrm>
                <a:off x="3868" y="4207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15" name="Rectangle 329"/>
              <p:cNvSpPr>
                <a:spLocks noChangeArrowheads="1"/>
              </p:cNvSpPr>
              <p:nvPr userDrawn="1"/>
            </p:nvSpPr>
            <p:spPr bwMode="auto">
              <a:xfrm>
                <a:off x="4005" y="4151"/>
                <a:ext cx="55" cy="1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16" name="Rectangle 330"/>
              <p:cNvSpPr>
                <a:spLocks noChangeArrowheads="1"/>
              </p:cNvSpPr>
              <p:nvPr userDrawn="1"/>
            </p:nvSpPr>
            <p:spPr bwMode="auto">
              <a:xfrm>
                <a:off x="3996" y="4207"/>
                <a:ext cx="71" cy="5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17" name="Rectangle 331"/>
              <p:cNvSpPr>
                <a:spLocks noChangeArrowheads="1"/>
              </p:cNvSpPr>
              <p:nvPr userDrawn="1"/>
            </p:nvSpPr>
            <p:spPr bwMode="auto">
              <a:xfrm>
                <a:off x="3646" y="4146"/>
                <a:ext cx="129" cy="182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18" name="Rectangle 332"/>
              <p:cNvSpPr>
                <a:spLocks noChangeArrowheads="1"/>
              </p:cNvSpPr>
              <p:nvPr userDrawn="1"/>
            </p:nvSpPr>
            <p:spPr bwMode="auto">
              <a:xfrm>
                <a:off x="3619" y="4340"/>
                <a:ext cx="184" cy="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19" name="Rectangle 333"/>
              <p:cNvSpPr>
                <a:spLocks noChangeArrowheads="1"/>
              </p:cNvSpPr>
              <p:nvPr userDrawn="1"/>
            </p:nvSpPr>
            <p:spPr bwMode="auto">
              <a:xfrm>
                <a:off x="3603" y="4365"/>
                <a:ext cx="216" cy="14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20" name="Rectangle 334"/>
              <p:cNvSpPr>
                <a:spLocks noChangeArrowheads="1"/>
              </p:cNvSpPr>
              <p:nvPr userDrawn="1"/>
            </p:nvSpPr>
            <p:spPr bwMode="auto">
              <a:xfrm>
                <a:off x="3586" y="4392"/>
                <a:ext cx="251" cy="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21" name="Line 335"/>
              <p:cNvSpPr>
                <a:spLocks noChangeShapeType="1"/>
              </p:cNvSpPr>
              <p:nvPr userDrawn="1"/>
            </p:nvSpPr>
            <p:spPr bwMode="auto">
              <a:xfrm flipV="1">
                <a:off x="3473" y="3441"/>
                <a:ext cx="0" cy="103"/>
              </a:xfrm>
              <a:prstGeom prst="line">
                <a:avLst/>
              </a:prstGeom>
              <a:noFill/>
              <a:ln w="14288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  <p:sp>
            <p:nvSpPr>
              <p:cNvPr id="120022" name="Line 336"/>
              <p:cNvSpPr>
                <a:spLocks noChangeShapeType="1"/>
              </p:cNvSpPr>
              <p:nvPr userDrawn="1"/>
            </p:nvSpPr>
            <p:spPr bwMode="auto">
              <a:xfrm flipV="1">
                <a:off x="3525" y="3380"/>
                <a:ext cx="0" cy="164"/>
              </a:xfrm>
              <a:prstGeom prst="line">
                <a:avLst/>
              </a:prstGeom>
              <a:noFill/>
              <a:ln w="14288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65"/>
              </a:p>
            </p:txBody>
          </p:sp>
        </p:grpSp>
      </p:grpSp>
      <p:grpSp>
        <p:nvGrpSpPr>
          <p:cNvPr id="120023" name="Group 120022"/>
          <p:cNvGrpSpPr/>
          <p:nvPr userDrawn="1"/>
        </p:nvGrpSpPr>
        <p:grpSpPr>
          <a:xfrm flipH="1">
            <a:off x="7748596" y="35786"/>
            <a:ext cx="3031896" cy="4753738"/>
            <a:chOff x="4573547" y="-1256816"/>
            <a:chExt cx="3307680" cy="5185407"/>
          </a:xfrm>
        </p:grpSpPr>
        <p:sp>
          <p:nvSpPr>
            <p:cNvPr id="46" name="Rectangle 13"/>
            <p:cNvSpPr>
              <a:spLocks noChangeArrowheads="1"/>
            </p:cNvSpPr>
            <p:nvPr userDrawn="1"/>
          </p:nvSpPr>
          <p:spPr bwMode="auto">
            <a:xfrm>
              <a:off x="5958886" y="1228595"/>
              <a:ext cx="11482" cy="108219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49" name="Rectangle 16"/>
            <p:cNvSpPr>
              <a:spLocks noChangeArrowheads="1"/>
            </p:cNvSpPr>
            <p:nvPr userDrawn="1"/>
          </p:nvSpPr>
          <p:spPr bwMode="auto">
            <a:xfrm>
              <a:off x="6624852" y="1722329"/>
              <a:ext cx="11482" cy="163047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3" name="Rectangle 20"/>
            <p:cNvSpPr>
              <a:spLocks noChangeArrowheads="1"/>
            </p:cNvSpPr>
            <p:nvPr userDrawn="1"/>
          </p:nvSpPr>
          <p:spPr bwMode="auto">
            <a:xfrm>
              <a:off x="6980800" y="1426663"/>
              <a:ext cx="11482" cy="82097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57" name="Rectangle 24"/>
            <p:cNvSpPr>
              <a:spLocks noChangeArrowheads="1"/>
            </p:cNvSpPr>
            <p:nvPr userDrawn="1"/>
          </p:nvSpPr>
          <p:spPr bwMode="auto">
            <a:xfrm>
              <a:off x="4936971" y="1739552"/>
              <a:ext cx="11482" cy="123720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61" name="Rectangle 28"/>
            <p:cNvSpPr>
              <a:spLocks noChangeArrowheads="1"/>
            </p:cNvSpPr>
            <p:nvPr userDrawn="1"/>
          </p:nvSpPr>
          <p:spPr bwMode="auto">
            <a:xfrm>
              <a:off x="5292918" y="1443886"/>
              <a:ext cx="11482" cy="7463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08" name="Freeform 31"/>
            <p:cNvSpPr>
              <a:spLocks/>
            </p:cNvSpPr>
            <p:nvPr userDrawn="1"/>
          </p:nvSpPr>
          <p:spPr bwMode="auto">
            <a:xfrm>
              <a:off x="5407740" y="304279"/>
              <a:ext cx="1489814" cy="978856"/>
            </a:xfrm>
            <a:custGeom>
              <a:avLst/>
              <a:gdLst>
                <a:gd name="T0" fmla="*/ 903 w 1103"/>
                <a:gd name="T1" fmla="*/ 412 h 724"/>
                <a:gd name="T2" fmla="*/ 1103 w 1103"/>
                <a:gd name="T3" fmla="*/ 156 h 724"/>
                <a:gd name="T4" fmla="*/ 848 w 1103"/>
                <a:gd name="T5" fmla="*/ 0 h 724"/>
                <a:gd name="T6" fmla="*/ 696 w 1103"/>
                <a:gd name="T7" fmla="*/ 277 h 724"/>
                <a:gd name="T8" fmla="*/ 268 w 1103"/>
                <a:gd name="T9" fmla="*/ 277 h 724"/>
                <a:gd name="T10" fmla="*/ 268 w 1103"/>
                <a:gd name="T11" fmla="*/ 277 h 724"/>
                <a:gd name="T12" fmla="*/ 268 w 1103"/>
                <a:gd name="T13" fmla="*/ 277 h 724"/>
                <a:gd name="T14" fmla="*/ 79 w 1103"/>
                <a:gd name="T15" fmla="*/ 400 h 724"/>
                <a:gd name="T16" fmla="*/ 167 w 1103"/>
                <a:gd name="T17" fmla="*/ 419 h 724"/>
                <a:gd name="T18" fmla="*/ 274 w 1103"/>
                <a:gd name="T19" fmla="*/ 348 h 724"/>
                <a:gd name="T20" fmla="*/ 347 w 1103"/>
                <a:gd name="T21" fmla="*/ 348 h 724"/>
                <a:gd name="T22" fmla="*/ 232 w 1103"/>
                <a:gd name="T23" fmla="*/ 393 h 724"/>
                <a:gd name="T24" fmla="*/ 232 w 1103"/>
                <a:gd name="T25" fmla="*/ 393 h 724"/>
                <a:gd name="T26" fmla="*/ 0 w 1103"/>
                <a:gd name="T27" fmla="*/ 590 h 724"/>
                <a:gd name="T28" fmla="*/ 89 w 1103"/>
                <a:gd name="T29" fmla="*/ 597 h 724"/>
                <a:gd name="T30" fmla="*/ 262 w 1103"/>
                <a:gd name="T31" fmla="*/ 451 h 724"/>
                <a:gd name="T32" fmla="*/ 386 w 1103"/>
                <a:gd name="T33" fmla="*/ 399 h 724"/>
                <a:gd name="T34" fmla="*/ 244 w 1103"/>
                <a:gd name="T35" fmla="*/ 480 h 724"/>
                <a:gd name="T36" fmla="*/ 54 w 1103"/>
                <a:gd name="T37" fmla="*/ 701 h 724"/>
                <a:gd name="T38" fmla="*/ 143 w 1103"/>
                <a:gd name="T39" fmla="*/ 694 h 724"/>
                <a:gd name="T40" fmla="*/ 279 w 1103"/>
                <a:gd name="T41" fmla="*/ 536 h 724"/>
                <a:gd name="T42" fmla="*/ 413 w 1103"/>
                <a:gd name="T43" fmla="*/ 448 h 724"/>
                <a:gd name="T44" fmla="*/ 266 w 1103"/>
                <a:gd name="T45" fmla="*/ 567 h 724"/>
                <a:gd name="T46" fmla="*/ 383 w 1103"/>
                <a:gd name="T47" fmla="*/ 703 h 724"/>
                <a:gd name="T48" fmla="*/ 389 w 1103"/>
                <a:gd name="T49" fmla="*/ 614 h 724"/>
                <a:gd name="T50" fmla="*/ 351 w 1103"/>
                <a:gd name="T51" fmla="*/ 569 h 724"/>
                <a:gd name="T52" fmla="*/ 520 w 1103"/>
                <a:gd name="T53" fmla="*/ 480 h 724"/>
                <a:gd name="T54" fmla="*/ 672 w 1103"/>
                <a:gd name="T55" fmla="*/ 488 h 724"/>
                <a:gd name="T56" fmla="*/ 648 w 1103"/>
                <a:gd name="T57" fmla="*/ 574 h 724"/>
                <a:gd name="T58" fmla="*/ 480 w 1103"/>
                <a:gd name="T59" fmla="*/ 621 h 724"/>
                <a:gd name="T60" fmla="*/ 434 w 1103"/>
                <a:gd name="T61" fmla="*/ 703 h 724"/>
                <a:gd name="T62" fmla="*/ 562 w 1103"/>
                <a:gd name="T63" fmla="*/ 667 h 724"/>
                <a:gd name="T64" fmla="*/ 671 w 1103"/>
                <a:gd name="T65" fmla="*/ 636 h 724"/>
                <a:gd name="T66" fmla="*/ 746 w 1103"/>
                <a:gd name="T67" fmla="*/ 615 h 724"/>
                <a:gd name="T68" fmla="*/ 746 w 1103"/>
                <a:gd name="T69" fmla="*/ 615 h 724"/>
                <a:gd name="T70" fmla="*/ 746 w 1103"/>
                <a:gd name="T71" fmla="*/ 615 h 724"/>
                <a:gd name="T72" fmla="*/ 903 w 1103"/>
                <a:gd name="T73" fmla="*/ 412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03" h="724">
                  <a:moveTo>
                    <a:pt x="903" y="412"/>
                  </a:moveTo>
                  <a:cubicBezTo>
                    <a:pt x="1103" y="156"/>
                    <a:pt x="1103" y="156"/>
                    <a:pt x="1103" y="156"/>
                  </a:cubicBezTo>
                  <a:cubicBezTo>
                    <a:pt x="848" y="0"/>
                    <a:pt x="848" y="0"/>
                    <a:pt x="848" y="0"/>
                  </a:cubicBezTo>
                  <a:cubicBezTo>
                    <a:pt x="696" y="277"/>
                    <a:pt x="696" y="277"/>
                    <a:pt x="696" y="277"/>
                  </a:cubicBezTo>
                  <a:cubicBezTo>
                    <a:pt x="268" y="277"/>
                    <a:pt x="268" y="277"/>
                    <a:pt x="268" y="277"/>
                  </a:cubicBezTo>
                  <a:cubicBezTo>
                    <a:pt x="268" y="277"/>
                    <a:pt x="268" y="277"/>
                    <a:pt x="268" y="277"/>
                  </a:cubicBezTo>
                  <a:cubicBezTo>
                    <a:pt x="268" y="277"/>
                    <a:pt x="268" y="277"/>
                    <a:pt x="268" y="277"/>
                  </a:cubicBezTo>
                  <a:cubicBezTo>
                    <a:pt x="79" y="400"/>
                    <a:pt x="79" y="400"/>
                    <a:pt x="79" y="400"/>
                  </a:cubicBezTo>
                  <a:cubicBezTo>
                    <a:pt x="98" y="430"/>
                    <a:pt x="137" y="438"/>
                    <a:pt x="167" y="419"/>
                  </a:cubicBezTo>
                  <a:cubicBezTo>
                    <a:pt x="274" y="348"/>
                    <a:pt x="274" y="348"/>
                    <a:pt x="274" y="348"/>
                  </a:cubicBezTo>
                  <a:cubicBezTo>
                    <a:pt x="347" y="348"/>
                    <a:pt x="347" y="348"/>
                    <a:pt x="347" y="348"/>
                  </a:cubicBezTo>
                  <a:cubicBezTo>
                    <a:pt x="232" y="393"/>
                    <a:pt x="232" y="393"/>
                    <a:pt x="232" y="393"/>
                  </a:cubicBezTo>
                  <a:cubicBezTo>
                    <a:pt x="232" y="393"/>
                    <a:pt x="232" y="393"/>
                    <a:pt x="232" y="393"/>
                  </a:cubicBezTo>
                  <a:cubicBezTo>
                    <a:pt x="0" y="590"/>
                    <a:pt x="0" y="590"/>
                    <a:pt x="0" y="590"/>
                  </a:cubicBezTo>
                  <a:cubicBezTo>
                    <a:pt x="23" y="617"/>
                    <a:pt x="63" y="620"/>
                    <a:pt x="89" y="597"/>
                  </a:cubicBezTo>
                  <a:cubicBezTo>
                    <a:pt x="262" y="451"/>
                    <a:pt x="262" y="451"/>
                    <a:pt x="262" y="451"/>
                  </a:cubicBezTo>
                  <a:cubicBezTo>
                    <a:pt x="386" y="399"/>
                    <a:pt x="386" y="399"/>
                    <a:pt x="386" y="399"/>
                  </a:cubicBezTo>
                  <a:cubicBezTo>
                    <a:pt x="244" y="480"/>
                    <a:pt x="244" y="480"/>
                    <a:pt x="244" y="480"/>
                  </a:cubicBezTo>
                  <a:cubicBezTo>
                    <a:pt x="54" y="701"/>
                    <a:pt x="54" y="701"/>
                    <a:pt x="54" y="701"/>
                  </a:cubicBezTo>
                  <a:cubicBezTo>
                    <a:pt x="80" y="724"/>
                    <a:pt x="120" y="721"/>
                    <a:pt x="143" y="694"/>
                  </a:cubicBezTo>
                  <a:cubicBezTo>
                    <a:pt x="279" y="536"/>
                    <a:pt x="279" y="536"/>
                    <a:pt x="279" y="536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266" y="567"/>
                    <a:pt x="266" y="567"/>
                    <a:pt x="266" y="567"/>
                  </a:cubicBezTo>
                  <a:cubicBezTo>
                    <a:pt x="383" y="703"/>
                    <a:pt x="383" y="703"/>
                    <a:pt x="383" y="703"/>
                  </a:cubicBezTo>
                  <a:cubicBezTo>
                    <a:pt x="409" y="680"/>
                    <a:pt x="412" y="640"/>
                    <a:pt x="389" y="614"/>
                  </a:cubicBezTo>
                  <a:cubicBezTo>
                    <a:pt x="351" y="569"/>
                    <a:pt x="351" y="569"/>
                    <a:pt x="351" y="569"/>
                  </a:cubicBezTo>
                  <a:cubicBezTo>
                    <a:pt x="520" y="480"/>
                    <a:pt x="520" y="480"/>
                    <a:pt x="520" y="480"/>
                  </a:cubicBezTo>
                  <a:cubicBezTo>
                    <a:pt x="520" y="480"/>
                    <a:pt x="614" y="416"/>
                    <a:pt x="672" y="488"/>
                  </a:cubicBezTo>
                  <a:cubicBezTo>
                    <a:pt x="698" y="522"/>
                    <a:pt x="693" y="558"/>
                    <a:pt x="648" y="574"/>
                  </a:cubicBezTo>
                  <a:cubicBezTo>
                    <a:pt x="480" y="621"/>
                    <a:pt x="480" y="621"/>
                    <a:pt x="480" y="621"/>
                  </a:cubicBezTo>
                  <a:cubicBezTo>
                    <a:pt x="444" y="631"/>
                    <a:pt x="424" y="668"/>
                    <a:pt x="434" y="703"/>
                  </a:cubicBezTo>
                  <a:cubicBezTo>
                    <a:pt x="562" y="667"/>
                    <a:pt x="562" y="667"/>
                    <a:pt x="562" y="667"/>
                  </a:cubicBezTo>
                  <a:cubicBezTo>
                    <a:pt x="671" y="636"/>
                    <a:pt x="671" y="636"/>
                    <a:pt x="671" y="636"/>
                  </a:cubicBezTo>
                  <a:cubicBezTo>
                    <a:pt x="746" y="615"/>
                    <a:pt x="746" y="615"/>
                    <a:pt x="746" y="615"/>
                  </a:cubicBezTo>
                  <a:cubicBezTo>
                    <a:pt x="746" y="615"/>
                    <a:pt x="746" y="615"/>
                    <a:pt x="746" y="615"/>
                  </a:cubicBezTo>
                  <a:cubicBezTo>
                    <a:pt x="746" y="615"/>
                    <a:pt x="746" y="615"/>
                    <a:pt x="746" y="615"/>
                  </a:cubicBezTo>
                  <a:lnTo>
                    <a:pt x="903" y="412"/>
                  </a:lnTo>
                  <a:close/>
                </a:path>
              </a:pathLst>
            </a:custGeom>
            <a:solidFill>
              <a:srgbClr val="FED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09" name="Freeform 32"/>
            <p:cNvSpPr>
              <a:spLocks/>
            </p:cNvSpPr>
            <p:nvPr userDrawn="1"/>
          </p:nvSpPr>
          <p:spPr bwMode="auto">
            <a:xfrm>
              <a:off x="4885301" y="1366381"/>
              <a:ext cx="2158651" cy="396135"/>
            </a:xfrm>
            <a:custGeom>
              <a:avLst/>
              <a:gdLst>
                <a:gd name="T0" fmla="*/ 0 w 752"/>
                <a:gd name="T1" fmla="*/ 116 h 138"/>
                <a:gd name="T2" fmla="*/ 4 w 752"/>
                <a:gd name="T3" fmla="*/ 138 h 138"/>
                <a:gd name="T4" fmla="*/ 752 w 752"/>
                <a:gd name="T5" fmla="*/ 22 h 138"/>
                <a:gd name="T6" fmla="*/ 748 w 752"/>
                <a:gd name="T7" fmla="*/ 0 h 138"/>
                <a:gd name="T8" fmla="*/ 0 w 752"/>
                <a:gd name="T9" fmla="*/ 11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2" h="138">
                  <a:moveTo>
                    <a:pt x="0" y="116"/>
                  </a:moveTo>
                  <a:lnTo>
                    <a:pt x="4" y="138"/>
                  </a:lnTo>
                  <a:lnTo>
                    <a:pt x="752" y="22"/>
                  </a:lnTo>
                  <a:lnTo>
                    <a:pt x="748" y="0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BD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11" name="Freeform 33"/>
            <p:cNvSpPr>
              <a:spLocks/>
            </p:cNvSpPr>
            <p:nvPr userDrawn="1"/>
          </p:nvSpPr>
          <p:spPr bwMode="auto">
            <a:xfrm>
              <a:off x="5246989" y="1395087"/>
              <a:ext cx="1435274" cy="355948"/>
            </a:xfrm>
            <a:custGeom>
              <a:avLst/>
              <a:gdLst>
                <a:gd name="T0" fmla="*/ 4 w 500"/>
                <a:gd name="T1" fmla="*/ 0 h 124"/>
                <a:gd name="T2" fmla="*/ 0 w 500"/>
                <a:gd name="T3" fmla="*/ 22 h 124"/>
                <a:gd name="T4" fmla="*/ 496 w 500"/>
                <a:gd name="T5" fmla="*/ 124 h 124"/>
                <a:gd name="T6" fmla="*/ 500 w 500"/>
                <a:gd name="T7" fmla="*/ 102 h 124"/>
                <a:gd name="T8" fmla="*/ 4 w 50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0" h="124">
                  <a:moveTo>
                    <a:pt x="4" y="0"/>
                  </a:moveTo>
                  <a:lnTo>
                    <a:pt x="0" y="22"/>
                  </a:lnTo>
                  <a:lnTo>
                    <a:pt x="496" y="124"/>
                  </a:lnTo>
                  <a:lnTo>
                    <a:pt x="500" y="10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3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sp>
          <p:nvSpPr>
            <p:cNvPr id="119812" name="Freeform 34"/>
            <p:cNvSpPr>
              <a:spLocks/>
            </p:cNvSpPr>
            <p:nvPr userDrawn="1"/>
          </p:nvSpPr>
          <p:spPr bwMode="auto">
            <a:xfrm>
              <a:off x="6553088" y="-1256816"/>
              <a:ext cx="1328139" cy="1773512"/>
            </a:xfrm>
            <a:custGeom>
              <a:avLst/>
              <a:gdLst>
                <a:gd name="T0" fmla="*/ 59 w 259"/>
                <a:gd name="T1" fmla="*/ 0 h 180"/>
                <a:gd name="T2" fmla="*/ 0 w 259"/>
                <a:gd name="T3" fmla="*/ 106 h 180"/>
                <a:gd name="T4" fmla="*/ 120 w 259"/>
                <a:gd name="T5" fmla="*/ 180 h 180"/>
                <a:gd name="T6" fmla="*/ 259 w 259"/>
                <a:gd name="T7" fmla="*/ 0 h 180"/>
                <a:gd name="T8" fmla="*/ 59 w 259"/>
                <a:gd name="T9" fmla="*/ 0 h 180"/>
                <a:gd name="connsiteX0" fmla="*/ 2278 w 10000"/>
                <a:gd name="connsiteY0" fmla="*/ 34 h 10034"/>
                <a:gd name="connsiteX1" fmla="*/ 0 w 10000"/>
                <a:gd name="connsiteY1" fmla="*/ 5923 h 10034"/>
                <a:gd name="connsiteX2" fmla="*/ 4633 w 10000"/>
                <a:gd name="connsiteY2" fmla="*/ 10034 h 10034"/>
                <a:gd name="connsiteX3" fmla="*/ 10000 w 10000"/>
                <a:gd name="connsiteY3" fmla="*/ 34 h 10034"/>
                <a:gd name="connsiteX4" fmla="*/ 4380 w 10000"/>
                <a:gd name="connsiteY4" fmla="*/ 0 h 10034"/>
                <a:gd name="connsiteX5" fmla="*/ 2278 w 10000"/>
                <a:gd name="connsiteY5" fmla="*/ 34 h 10034"/>
                <a:gd name="connsiteX0" fmla="*/ 2278 w 10000"/>
                <a:gd name="connsiteY0" fmla="*/ 34 h 10034"/>
                <a:gd name="connsiteX1" fmla="*/ 0 w 10000"/>
                <a:gd name="connsiteY1" fmla="*/ 5923 h 10034"/>
                <a:gd name="connsiteX2" fmla="*/ 4633 w 10000"/>
                <a:gd name="connsiteY2" fmla="*/ 10034 h 10034"/>
                <a:gd name="connsiteX3" fmla="*/ 10000 w 10000"/>
                <a:gd name="connsiteY3" fmla="*/ 34 h 10034"/>
                <a:gd name="connsiteX4" fmla="*/ 7779 w 10000"/>
                <a:gd name="connsiteY4" fmla="*/ 0 h 10034"/>
                <a:gd name="connsiteX5" fmla="*/ 4380 w 10000"/>
                <a:gd name="connsiteY5" fmla="*/ 0 h 10034"/>
                <a:gd name="connsiteX6" fmla="*/ 2278 w 10000"/>
                <a:gd name="connsiteY6" fmla="*/ 34 h 10034"/>
                <a:gd name="connsiteX0" fmla="*/ 2278 w 17864"/>
                <a:gd name="connsiteY0" fmla="*/ 9655 h 19655"/>
                <a:gd name="connsiteX1" fmla="*/ 0 w 17864"/>
                <a:gd name="connsiteY1" fmla="*/ 15544 h 19655"/>
                <a:gd name="connsiteX2" fmla="*/ 4633 w 17864"/>
                <a:gd name="connsiteY2" fmla="*/ 19655 h 19655"/>
                <a:gd name="connsiteX3" fmla="*/ 10000 w 17864"/>
                <a:gd name="connsiteY3" fmla="*/ 9655 h 19655"/>
                <a:gd name="connsiteX4" fmla="*/ 17864 w 17864"/>
                <a:gd name="connsiteY4" fmla="*/ 0 h 19655"/>
                <a:gd name="connsiteX5" fmla="*/ 4380 w 17864"/>
                <a:gd name="connsiteY5" fmla="*/ 9621 h 19655"/>
                <a:gd name="connsiteX6" fmla="*/ 2278 w 17864"/>
                <a:gd name="connsiteY6" fmla="*/ 9655 h 19655"/>
                <a:gd name="connsiteX0" fmla="*/ 2278 w 17864"/>
                <a:gd name="connsiteY0" fmla="*/ 24324 h 34324"/>
                <a:gd name="connsiteX1" fmla="*/ 0 w 17864"/>
                <a:gd name="connsiteY1" fmla="*/ 30213 h 34324"/>
                <a:gd name="connsiteX2" fmla="*/ 4633 w 17864"/>
                <a:gd name="connsiteY2" fmla="*/ 34324 h 34324"/>
                <a:gd name="connsiteX3" fmla="*/ 10000 w 17864"/>
                <a:gd name="connsiteY3" fmla="*/ 24324 h 34324"/>
                <a:gd name="connsiteX4" fmla="*/ 17864 w 17864"/>
                <a:gd name="connsiteY4" fmla="*/ 14669 h 34324"/>
                <a:gd name="connsiteX5" fmla="*/ 11724 w 17864"/>
                <a:gd name="connsiteY5" fmla="*/ 0 h 34324"/>
                <a:gd name="connsiteX6" fmla="*/ 2278 w 17864"/>
                <a:gd name="connsiteY6" fmla="*/ 24324 h 34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64" h="34324">
                  <a:moveTo>
                    <a:pt x="2278" y="24324"/>
                  </a:moveTo>
                  <a:lnTo>
                    <a:pt x="0" y="30213"/>
                  </a:lnTo>
                  <a:lnTo>
                    <a:pt x="4633" y="34324"/>
                  </a:lnTo>
                  <a:lnTo>
                    <a:pt x="10000" y="24324"/>
                  </a:lnTo>
                  <a:lnTo>
                    <a:pt x="17864" y="14669"/>
                  </a:lnTo>
                  <a:lnTo>
                    <a:pt x="11724" y="0"/>
                  </a:lnTo>
                  <a:lnTo>
                    <a:pt x="2278" y="24324"/>
                  </a:lnTo>
                  <a:close/>
                </a:path>
              </a:pathLst>
            </a:custGeom>
            <a:solidFill>
              <a:srgbClr val="EA1E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  <p:pic>
          <p:nvPicPr>
            <p:cNvPr id="238" name="Picture 237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5561230" y="2043080"/>
              <a:ext cx="812772" cy="494484"/>
            </a:xfrm>
            <a:prstGeom prst="rect">
              <a:avLst/>
            </a:prstGeom>
          </p:spPr>
        </p:pic>
        <p:pic>
          <p:nvPicPr>
            <p:cNvPr id="239" name="Picture 238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737561" y="2238185"/>
              <a:ext cx="505571" cy="962215"/>
            </a:xfrm>
            <a:prstGeom prst="rect">
              <a:avLst/>
            </a:prstGeom>
          </p:spPr>
        </p:pic>
        <p:pic>
          <p:nvPicPr>
            <p:cNvPr id="240" name="Picture 239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5088522" y="2190228"/>
              <a:ext cx="393609" cy="574934"/>
            </a:xfrm>
            <a:prstGeom prst="rect">
              <a:avLst/>
            </a:prstGeom>
          </p:spPr>
        </p:pic>
        <p:pic>
          <p:nvPicPr>
            <p:cNvPr id="241" name="Picture 240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4573547" y="2962666"/>
              <a:ext cx="745142" cy="965925"/>
            </a:xfrm>
            <a:prstGeom prst="rect">
              <a:avLst/>
            </a:prstGeom>
          </p:spPr>
        </p:pic>
        <p:pic>
          <p:nvPicPr>
            <p:cNvPr id="242" name="Picture 241"/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5981830" y="3200400"/>
              <a:ext cx="907976" cy="513723"/>
            </a:xfrm>
            <a:prstGeom prst="rect">
              <a:avLst/>
            </a:prstGeom>
          </p:spPr>
        </p:pic>
      </p:grp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378" imgH="377" progId="TCLayout.ActiveDocument.1">
                  <p:embed/>
                </p:oleObj>
              </mc:Choice>
              <mc:Fallback>
                <p:oleObj name="think-cell Slide" r:id="rId9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7" name="Picture 37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83623" y="141356"/>
            <a:ext cx="1865821" cy="686428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Freeform 319"/>
          <p:cNvSpPr/>
          <p:nvPr userDrawn="1"/>
        </p:nvSpPr>
        <p:spPr bwMode="auto">
          <a:xfrm>
            <a:off x="435832" y="1"/>
            <a:ext cx="7938706" cy="6861113"/>
          </a:xfrm>
          <a:custGeom>
            <a:avLst/>
            <a:gdLst>
              <a:gd name="connsiteX0" fmla="*/ 0 w 8097894"/>
              <a:gd name="connsiteY0" fmla="*/ 0 h 6994525"/>
              <a:gd name="connsiteX1" fmla="*/ 8097894 w 8097894"/>
              <a:gd name="connsiteY1" fmla="*/ 0 h 6994525"/>
              <a:gd name="connsiteX2" fmla="*/ 6517262 w 8097894"/>
              <a:gd name="connsiteY2" fmla="*/ 6994525 h 6994525"/>
              <a:gd name="connsiteX3" fmla="*/ 0 w 8097894"/>
              <a:gd name="connsiteY3" fmla="*/ 6994525 h 6994525"/>
              <a:gd name="connsiteX0" fmla="*/ 0 w 8097894"/>
              <a:gd name="connsiteY0" fmla="*/ 0 h 6997700"/>
              <a:gd name="connsiteX1" fmla="*/ 8097894 w 8097894"/>
              <a:gd name="connsiteY1" fmla="*/ 0 h 6997700"/>
              <a:gd name="connsiteX2" fmla="*/ 6517262 w 8097894"/>
              <a:gd name="connsiteY2" fmla="*/ 6994525 h 6997700"/>
              <a:gd name="connsiteX3" fmla="*/ 6184900 w 8097894"/>
              <a:gd name="connsiteY3" fmla="*/ 6997700 h 6997700"/>
              <a:gd name="connsiteX4" fmla="*/ 0 w 8097894"/>
              <a:gd name="connsiteY4" fmla="*/ 6994525 h 6997700"/>
              <a:gd name="connsiteX5" fmla="*/ 0 w 8097894"/>
              <a:gd name="connsiteY5" fmla="*/ 0 h 6997700"/>
              <a:gd name="connsiteX0" fmla="*/ 0 w 8097894"/>
              <a:gd name="connsiteY0" fmla="*/ 0 h 6997700"/>
              <a:gd name="connsiteX1" fmla="*/ 8097894 w 8097894"/>
              <a:gd name="connsiteY1" fmla="*/ 0 h 6997700"/>
              <a:gd name="connsiteX2" fmla="*/ 6184900 w 8097894"/>
              <a:gd name="connsiteY2" fmla="*/ 6997700 h 6997700"/>
              <a:gd name="connsiteX3" fmla="*/ 0 w 8097894"/>
              <a:gd name="connsiteY3" fmla="*/ 6994525 h 6997700"/>
              <a:gd name="connsiteX4" fmla="*/ 0 w 8097894"/>
              <a:gd name="connsiteY4" fmla="*/ 0 h 699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7894" h="6997700">
                <a:moveTo>
                  <a:pt x="0" y="0"/>
                </a:moveTo>
                <a:lnTo>
                  <a:pt x="8097894" y="0"/>
                </a:lnTo>
                <a:lnTo>
                  <a:pt x="6184900" y="6997700"/>
                </a:lnTo>
                <a:lnTo>
                  <a:pt x="0" y="6994525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1" name="Freeform 320"/>
          <p:cNvSpPr/>
          <p:nvPr userDrawn="1"/>
        </p:nvSpPr>
        <p:spPr bwMode="auto">
          <a:xfrm>
            <a:off x="212071" y="1"/>
            <a:ext cx="7938706" cy="6861113"/>
          </a:xfrm>
          <a:custGeom>
            <a:avLst/>
            <a:gdLst>
              <a:gd name="connsiteX0" fmla="*/ 0 w 8097894"/>
              <a:gd name="connsiteY0" fmla="*/ 0 h 6994525"/>
              <a:gd name="connsiteX1" fmla="*/ 8097894 w 8097894"/>
              <a:gd name="connsiteY1" fmla="*/ 0 h 6994525"/>
              <a:gd name="connsiteX2" fmla="*/ 6517262 w 8097894"/>
              <a:gd name="connsiteY2" fmla="*/ 6994525 h 6994525"/>
              <a:gd name="connsiteX3" fmla="*/ 0 w 8097894"/>
              <a:gd name="connsiteY3" fmla="*/ 6994525 h 6994525"/>
              <a:gd name="connsiteX0" fmla="*/ 0 w 8097894"/>
              <a:gd name="connsiteY0" fmla="*/ 0 h 6997700"/>
              <a:gd name="connsiteX1" fmla="*/ 8097894 w 8097894"/>
              <a:gd name="connsiteY1" fmla="*/ 0 h 6997700"/>
              <a:gd name="connsiteX2" fmla="*/ 6517262 w 8097894"/>
              <a:gd name="connsiteY2" fmla="*/ 6994525 h 6997700"/>
              <a:gd name="connsiteX3" fmla="*/ 6184900 w 8097894"/>
              <a:gd name="connsiteY3" fmla="*/ 6997700 h 6997700"/>
              <a:gd name="connsiteX4" fmla="*/ 0 w 8097894"/>
              <a:gd name="connsiteY4" fmla="*/ 6994525 h 6997700"/>
              <a:gd name="connsiteX5" fmla="*/ 0 w 8097894"/>
              <a:gd name="connsiteY5" fmla="*/ 0 h 6997700"/>
              <a:gd name="connsiteX0" fmla="*/ 0 w 8097894"/>
              <a:gd name="connsiteY0" fmla="*/ 0 h 6997700"/>
              <a:gd name="connsiteX1" fmla="*/ 8097894 w 8097894"/>
              <a:gd name="connsiteY1" fmla="*/ 0 h 6997700"/>
              <a:gd name="connsiteX2" fmla="*/ 6184900 w 8097894"/>
              <a:gd name="connsiteY2" fmla="*/ 6997700 h 6997700"/>
              <a:gd name="connsiteX3" fmla="*/ 0 w 8097894"/>
              <a:gd name="connsiteY3" fmla="*/ 6994525 h 6997700"/>
              <a:gd name="connsiteX4" fmla="*/ 0 w 8097894"/>
              <a:gd name="connsiteY4" fmla="*/ 0 h 699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7894" h="6997700">
                <a:moveTo>
                  <a:pt x="0" y="0"/>
                </a:moveTo>
                <a:lnTo>
                  <a:pt x="8097894" y="0"/>
                </a:lnTo>
                <a:lnTo>
                  <a:pt x="6184900" y="6997700"/>
                </a:lnTo>
                <a:lnTo>
                  <a:pt x="0" y="6994525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Freeform 37"/>
          <p:cNvSpPr/>
          <p:nvPr userDrawn="1"/>
        </p:nvSpPr>
        <p:spPr bwMode="auto">
          <a:xfrm>
            <a:off x="0" y="1"/>
            <a:ext cx="7938706" cy="6861113"/>
          </a:xfrm>
          <a:custGeom>
            <a:avLst/>
            <a:gdLst>
              <a:gd name="connsiteX0" fmla="*/ 0 w 8097894"/>
              <a:gd name="connsiteY0" fmla="*/ 0 h 6994525"/>
              <a:gd name="connsiteX1" fmla="*/ 8097894 w 8097894"/>
              <a:gd name="connsiteY1" fmla="*/ 0 h 6994525"/>
              <a:gd name="connsiteX2" fmla="*/ 6517262 w 8097894"/>
              <a:gd name="connsiteY2" fmla="*/ 6994525 h 6994525"/>
              <a:gd name="connsiteX3" fmla="*/ 0 w 8097894"/>
              <a:gd name="connsiteY3" fmla="*/ 6994525 h 6994525"/>
              <a:gd name="connsiteX0" fmla="*/ 0 w 8097894"/>
              <a:gd name="connsiteY0" fmla="*/ 0 h 6997700"/>
              <a:gd name="connsiteX1" fmla="*/ 8097894 w 8097894"/>
              <a:gd name="connsiteY1" fmla="*/ 0 h 6997700"/>
              <a:gd name="connsiteX2" fmla="*/ 6517262 w 8097894"/>
              <a:gd name="connsiteY2" fmla="*/ 6994525 h 6997700"/>
              <a:gd name="connsiteX3" fmla="*/ 6184900 w 8097894"/>
              <a:gd name="connsiteY3" fmla="*/ 6997700 h 6997700"/>
              <a:gd name="connsiteX4" fmla="*/ 0 w 8097894"/>
              <a:gd name="connsiteY4" fmla="*/ 6994525 h 6997700"/>
              <a:gd name="connsiteX5" fmla="*/ 0 w 8097894"/>
              <a:gd name="connsiteY5" fmla="*/ 0 h 6997700"/>
              <a:gd name="connsiteX0" fmla="*/ 0 w 8097894"/>
              <a:gd name="connsiteY0" fmla="*/ 0 h 6997700"/>
              <a:gd name="connsiteX1" fmla="*/ 8097894 w 8097894"/>
              <a:gd name="connsiteY1" fmla="*/ 0 h 6997700"/>
              <a:gd name="connsiteX2" fmla="*/ 6184900 w 8097894"/>
              <a:gd name="connsiteY2" fmla="*/ 6997700 h 6997700"/>
              <a:gd name="connsiteX3" fmla="*/ 0 w 8097894"/>
              <a:gd name="connsiteY3" fmla="*/ 6994525 h 6997700"/>
              <a:gd name="connsiteX4" fmla="*/ 0 w 8097894"/>
              <a:gd name="connsiteY4" fmla="*/ 0 h 699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7894" h="6997700">
                <a:moveTo>
                  <a:pt x="0" y="0"/>
                </a:moveTo>
                <a:lnTo>
                  <a:pt x="8097894" y="0"/>
                </a:lnTo>
                <a:lnTo>
                  <a:pt x="6184900" y="6997700"/>
                </a:lnTo>
                <a:lnTo>
                  <a:pt x="0" y="6994525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 userDrawn="1">
            <p:ph type="title" hasCustomPrompt="1"/>
          </p:nvPr>
        </p:nvSpPr>
        <p:spPr bwMode="auto">
          <a:xfrm>
            <a:off x="457998" y="1071147"/>
            <a:ext cx="6370635" cy="2294297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4" hasCustomPrompt="1"/>
          </p:nvPr>
        </p:nvSpPr>
        <p:spPr bwMode="auto">
          <a:xfrm>
            <a:off x="457999" y="3384122"/>
            <a:ext cx="6061808" cy="14514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378" name="Text Placeholder 2"/>
          <p:cNvSpPr txBox="1">
            <a:spLocks/>
          </p:cNvSpPr>
          <p:nvPr userDrawn="1"/>
        </p:nvSpPr>
        <p:spPr bwMode="auto">
          <a:xfrm>
            <a:off x="306934" y="6085042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53" b="0">
                <a:solidFill>
                  <a:schemeClr val="tx1"/>
                </a:solidFill>
                <a:latin typeface="+mn-lt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3624573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31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13512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11762894" y="6492219"/>
            <a:ext cx="608079" cy="452654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fld id="{473EC12E-7111-4A54-9232-5223674D5808}" type="slidenum">
              <a:rPr lang="en-US" sz="1176" smtClean="0">
                <a:solidFill>
                  <a:schemeClr val="bg1"/>
                </a:solidFill>
              </a:rPr>
              <a:pPr>
                <a:lnSpc>
                  <a:spcPct val="90000"/>
                </a:lnSpc>
                <a:spcAft>
                  <a:spcPts val="588"/>
                </a:spcAft>
              </a:pPr>
              <a:t>‹#›</a:t>
            </a:fld>
            <a:endParaRPr lang="en-US" sz="1176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14295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345720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31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29442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31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345713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345713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78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31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32286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bg>
      <p:bgPr>
        <a:solidFill>
          <a:schemeClr val="bg2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</a:t>
            </a:r>
            <a:r>
              <a:rPr lang="en-US" err="1"/>
              <a:t>Namec</a:t>
            </a:r>
            <a:endParaRPr lang="en-US"/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567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mo slide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</a:t>
            </a:r>
            <a:r>
              <a:rPr lang="en-US" err="1"/>
              <a:t>Namec</a:t>
            </a:r>
            <a:endParaRPr lang="en-US"/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45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</a:t>
            </a:r>
            <a:r>
              <a:rPr lang="en-US" err="1"/>
              <a:t>Namec</a:t>
            </a:r>
            <a:endParaRPr lang="en-US"/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46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2" y="1517310"/>
            <a:ext cx="8949308" cy="1608170"/>
          </a:xfrm>
          <a:noFill/>
        </p:spPr>
        <p:txBody>
          <a:bodyPr wrap="square" tIns="91440" bIns="91440" anchor="ctr" anchorCtr="0">
            <a:no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8026134" y="1517311"/>
            <a:ext cx="3959547" cy="5355419"/>
            <a:chOff x="8403772" y="2094962"/>
            <a:chExt cx="3575504" cy="4835303"/>
          </a:xfrm>
        </p:grpSpPr>
        <p:sp>
          <p:nvSpPr>
            <p:cNvPr id="265" name="Rounded Rectangle 264"/>
            <p:cNvSpPr/>
            <p:nvPr/>
          </p:nvSpPr>
          <p:spPr>
            <a:xfrm>
              <a:off x="10340829" y="4313631"/>
              <a:ext cx="205686" cy="2616634"/>
            </a:xfrm>
            <a:prstGeom prst="roundRect">
              <a:avLst/>
            </a:prstGeom>
            <a:solidFill>
              <a:schemeClr val="tx1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6" name="Rectangle 265"/>
            <p:cNvSpPr/>
            <p:nvPr/>
          </p:nvSpPr>
          <p:spPr>
            <a:xfrm>
              <a:off x="9287102" y="3097905"/>
              <a:ext cx="2313140" cy="1558433"/>
            </a:xfrm>
            <a:prstGeom prst="rect">
              <a:avLst/>
            </a:prstGeom>
            <a:solidFill>
              <a:srgbClr val="FFFFFF"/>
            </a:solidFill>
            <a:ln w="57150" cap="flat" cmpd="sng" algn="ctr">
              <a:solidFill>
                <a:schemeClr val="tx1">
                  <a:lumMod val="75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67" name="Group 266"/>
            <p:cNvGrpSpPr/>
            <p:nvPr/>
          </p:nvGrpSpPr>
          <p:grpSpPr>
            <a:xfrm rot="20371446">
              <a:off x="10232587" y="2800929"/>
              <a:ext cx="776204" cy="501033"/>
              <a:chOff x="4775201" y="792163"/>
              <a:chExt cx="2024063" cy="1306513"/>
            </a:xfrm>
          </p:grpSpPr>
          <p:sp>
            <p:nvSpPr>
              <p:cNvPr id="355" name="Freeform 354"/>
              <p:cNvSpPr>
                <a:spLocks/>
              </p:cNvSpPr>
              <p:nvPr/>
            </p:nvSpPr>
            <p:spPr bwMode="auto">
              <a:xfrm>
                <a:off x="4775201" y="792163"/>
                <a:ext cx="2024063" cy="1306513"/>
              </a:xfrm>
              <a:custGeom>
                <a:avLst/>
                <a:gdLst>
                  <a:gd name="T0" fmla="*/ 431 w 431"/>
                  <a:gd name="T1" fmla="*/ 249 h 277"/>
                  <a:gd name="T2" fmla="*/ 402 w 431"/>
                  <a:gd name="T3" fmla="*/ 277 h 277"/>
                  <a:gd name="T4" fmla="*/ 28 w 431"/>
                  <a:gd name="T5" fmla="*/ 277 h 277"/>
                  <a:gd name="T6" fmla="*/ 0 w 431"/>
                  <a:gd name="T7" fmla="*/ 249 h 277"/>
                  <a:gd name="T8" fmla="*/ 0 w 431"/>
                  <a:gd name="T9" fmla="*/ 29 h 277"/>
                  <a:gd name="T10" fmla="*/ 28 w 431"/>
                  <a:gd name="T11" fmla="*/ 0 h 277"/>
                  <a:gd name="T12" fmla="*/ 402 w 431"/>
                  <a:gd name="T13" fmla="*/ 0 h 277"/>
                  <a:gd name="T14" fmla="*/ 431 w 431"/>
                  <a:gd name="T15" fmla="*/ 29 h 277"/>
                  <a:gd name="T16" fmla="*/ 431 w 431"/>
                  <a:gd name="T17" fmla="*/ 249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1" h="277">
                    <a:moveTo>
                      <a:pt x="431" y="249"/>
                    </a:moveTo>
                    <a:cubicBezTo>
                      <a:pt x="431" y="264"/>
                      <a:pt x="418" y="277"/>
                      <a:pt x="402" y="277"/>
                    </a:cubicBezTo>
                    <a:cubicBezTo>
                      <a:pt x="28" y="277"/>
                      <a:pt x="28" y="277"/>
                      <a:pt x="28" y="277"/>
                    </a:cubicBezTo>
                    <a:cubicBezTo>
                      <a:pt x="13" y="277"/>
                      <a:pt x="0" y="264"/>
                      <a:pt x="0" y="24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8" y="0"/>
                    </a:cubicBezTo>
                    <a:cubicBezTo>
                      <a:pt x="402" y="0"/>
                      <a:pt x="402" y="0"/>
                      <a:pt x="402" y="0"/>
                    </a:cubicBezTo>
                    <a:cubicBezTo>
                      <a:pt x="418" y="0"/>
                      <a:pt x="431" y="13"/>
                      <a:pt x="431" y="29"/>
                    </a:cubicBezTo>
                    <a:lnTo>
                      <a:pt x="431" y="24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6" name="Rectangle 355"/>
              <p:cNvSpPr>
                <a:spLocks noChangeArrowheads="1"/>
              </p:cNvSpPr>
              <p:nvPr/>
            </p:nvSpPr>
            <p:spPr bwMode="auto">
              <a:xfrm>
                <a:off x="4916488" y="942975"/>
                <a:ext cx="1736725" cy="10048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7" name="Freeform 356"/>
              <p:cNvSpPr>
                <a:spLocks/>
              </p:cNvSpPr>
              <p:nvPr/>
            </p:nvSpPr>
            <p:spPr bwMode="auto">
              <a:xfrm>
                <a:off x="5029201" y="1268413"/>
                <a:ext cx="661988" cy="514350"/>
              </a:xfrm>
              <a:custGeom>
                <a:avLst/>
                <a:gdLst>
                  <a:gd name="T0" fmla="*/ 11 w 141"/>
                  <a:gd name="T1" fmla="*/ 0 h 109"/>
                  <a:gd name="T2" fmla="*/ 0 w 141"/>
                  <a:gd name="T3" fmla="*/ 38 h 109"/>
                  <a:gd name="T4" fmla="*/ 70 w 141"/>
                  <a:gd name="T5" fmla="*/ 109 h 109"/>
                  <a:gd name="T6" fmla="*/ 141 w 141"/>
                  <a:gd name="T7" fmla="*/ 38 h 109"/>
                  <a:gd name="T8" fmla="*/ 70 w 141"/>
                  <a:gd name="T9" fmla="*/ 38 h 109"/>
                  <a:gd name="T10" fmla="*/ 11 w 141"/>
                  <a:gd name="T11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109">
                    <a:moveTo>
                      <a:pt x="11" y="0"/>
                    </a:moveTo>
                    <a:cubicBezTo>
                      <a:pt x="4" y="11"/>
                      <a:pt x="0" y="24"/>
                      <a:pt x="0" y="38"/>
                    </a:cubicBezTo>
                    <a:cubicBezTo>
                      <a:pt x="0" y="77"/>
                      <a:pt x="31" y="109"/>
                      <a:pt x="70" y="109"/>
                    </a:cubicBezTo>
                    <a:cubicBezTo>
                      <a:pt x="110" y="109"/>
                      <a:pt x="141" y="77"/>
                      <a:pt x="141" y="38"/>
                    </a:cubicBezTo>
                    <a:cubicBezTo>
                      <a:pt x="70" y="38"/>
                      <a:pt x="70" y="38"/>
                      <a:pt x="70" y="38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107C1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8" name="Freeform 357"/>
              <p:cNvSpPr>
                <a:spLocks/>
              </p:cNvSpPr>
              <p:nvPr/>
            </p:nvSpPr>
            <p:spPr bwMode="auto">
              <a:xfrm>
                <a:off x="5357813" y="1112838"/>
                <a:ext cx="333375" cy="334963"/>
              </a:xfrm>
              <a:custGeom>
                <a:avLst/>
                <a:gdLst>
                  <a:gd name="T0" fmla="*/ 0 w 71"/>
                  <a:gd name="T1" fmla="*/ 0 h 71"/>
                  <a:gd name="T2" fmla="*/ 0 w 71"/>
                  <a:gd name="T3" fmla="*/ 71 h 71"/>
                  <a:gd name="T4" fmla="*/ 71 w 71"/>
                  <a:gd name="T5" fmla="*/ 71 h 71"/>
                  <a:gd name="T6" fmla="*/ 0 w 71"/>
                  <a:gd name="T7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0" y="71"/>
                      <a:pt x="0" y="71"/>
                      <a:pt x="0" y="71"/>
                    </a:cubicBezTo>
                    <a:cubicBezTo>
                      <a:pt x="71" y="71"/>
                      <a:pt x="71" y="71"/>
                      <a:pt x="71" y="71"/>
                    </a:cubicBezTo>
                    <a:cubicBezTo>
                      <a:pt x="71" y="32"/>
                      <a:pt x="40" y="0"/>
                      <a:pt x="0" y="0"/>
                    </a:cubicBez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9" name="Freeform 358"/>
              <p:cNvSpPr>
                <a:spLocks/>
              </p:cNvSpPr>
              <p:nvPr/>
            </p:nvSpPr>
            <p:spPr bwMode="auto">
              <a:xfrm>
                <a:off x="5122863" y="1112838"/>
                <a:ext cx="234950" cy="334963"/>
              </a:xfrm>
              <a:custGeom>
                <a:avLst/>
                <a:gdLst>
                  <a:gd name="T0" fmla="*/ 50 w 50"/>
                  <a:gd name="T1" fmla="*/ 71 h 71"/>
                  <a:gd name="T2" fmla="*/ 50 w 50"/>
                  <a:gd name="T3" fmla="*/ 0 h 71"/>
                  <a:gd name="T4" fmla="*/ 0 w 50"/>
                  <a:gd name="T5" fmla="*/ 21 h 71"/>
                  <a:gd name="T6" fmla="*/ 50 w 50"/>
                  <a:gd name="T7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71">
                    <a:moveTo>
                      <a:pt x="50" y="71"/>
                    </a:moveTo>
                    <a:cubicBezTo>
                      <a:pt x="50" y="0"/>
                      <a:pt x="50" y="0"/>
                      <a:pt x="50" y="0"/>
                    </a:cubicBezTo>
                    <a:cubicBezTo>
                      <a:pt x="31" y="0"/>
                      <a:pt x="13" y="8"/>
                      <a:pt x="0" y="21"/>
                    </a:cubicBezTo>
                    <a:lnTo>
                      <a:pt x="50" y="71"/>
                    </a:lnTo>
                    <a:close/>
                  </a:path>
                </a:pathLst>
              </a:custGeom>
              <a:solidFill>
                <a:srgbClr val="DD5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0" name="Rectangle 359"/>
              <p:cNvSpPr>
                <a:spLocks noChangeArrowheads="1"/>
              </p:cNvSpPr>
              <p:nvPr/>
            </p:nvSpPr>
            <p:spPr bwMode="auto">
              <a:xfrm>
                <a:off x="5868988" y="1570038"/>
                <a:ext cx="671513" cy="212725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1" name="Freeform 360"/>
              <p:cNvSpPr>
                <a:spLocks/>
              </p:cNvSpPr>
              <p:nvPr/>
            </p:nvSpPr>
            <p:spPr bwMode="auto">
              <a:xfrm>
                <a:off x="5837238" y="1612900"/>
                <a:ext cx="731838" cy="136525"/>
              </a:xfrm>
              <a:custGeom>
                <a:avLst/>
                <a:gdLst>
                  <a:gd name="T0" fmla="*/ 0 w 461"/>
                  <a:gd name="T1" fmla="*/ 86 h 86"/>
                  <a:gd name="T2" fmla="*/ 71 w 461"/>
                  <a:gd name="T3" fmla="*/ 39 h 86"/>
                  <a:gd name="T4" fmla="*/ 94 w 461"/>
                  <a:gd name="T5" fmla="*/ 71 h 86"/>
                  <a:gd name="T6" fmla="*/ 154 w 461"/>
                  <a:gd name="T7" fmla="*/ 39 h 86"/>
                  <a:gd name="T8" fmla="*/ 186 w 461"/>
                  <a:gd name="T9" fmla="*/ 71 h 86"/>
                  <a:gd name="T10" fmla="*/ 225 w 461"/>
                  <a:gd name="T11" fmla="*/ 33 h 86"/>
                  <a:gd name="T12" fmla="*/ 284 w 461"/>
                  <a:gd name="T13" fmla="*/ 0 h 86"/>
                  <a:gd name="T14" fmla="*/ 307 w 461"/>
                  <a:gd name="T15" fmla="*/ 24 h 86"/>
                  <a:gd name="T16" fmla="*/ 319 w 461"/>
                  <a:gd name="T17" fmla="*/ 42 h 86"/>
                  <a:gd name="T18" fmla="*/ 364 w 461"/>
                  <a:gd name="T19" fmla="*/ 21 h 86"/>
                  <a:gd name="T20" fmla="*/ 393 w 461"/>
                  <a:gd name="T21" fmla="*/ 53 h 86"/>
                  <a:gd name="T22" fmla="*/ 408 w 461"/>
                  <a:gd name="T23" fmla="*/ 39 h 86"/>
                  <a:gd name="T24" fmla="*/ 461 w 461"/>
                  <a:gd name="T25" fmla="*/ 71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1" h="86">
                    <a:moveTo>
                      <a:pt x="0" y="86"/>
                    </a:moveTo>
                    <a:lnTo>
                      <a:pt x="71" y="39"/>
                    </a:lnTo>
                    <a:lnTo>
                      <a:pt x="94" y="71"/>
                    </a:lnTo>
                    <a:lnTo>
                      <a:pt x="154" y="39"/>
                    </a:lnTo>
                    <a:lnTo>
                      <a:pt x="186" y="71"/>
                    </a:lnTo>
                    <a:lnTo>
                      <a:pt x="225" y="33"/>
                    </a:lnTo>
                    <a:lnTo>
                      <a:pt x="284" y="0"/>
                    </a:lnTo>
                    <a:lnTo>
                      <a:pt x="307" y="24"/>
                    </a:lnTo>
                    <a:lnTo>
                      <a:pt x="319" y="42"/>
                    </a:lnTo>
                    <a:lnTo>
                      <a:pt x="364" y="21"/>
                    </a:lnTo>
                    <a:lnTo>
                      <a:pt x="393" y="53"/>
                    </a:lnTo>
                    <a:lnTo>
                      <a:pt x="408" y="39"/>
                    </a:lnTo>
                    <a:lnTo>
                      <a:pt x="461" y="71"/>
                    </a:lnTo>
                  </a:path>
                </a:pathLst>
              </a:custGeom>
              <a:noFill/>
              <a:ln w="14288" cap="flat">
                <a:solidFill>
                  <a:srgbClr val="FFA83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2" name="Rectangle 361"/>
              <p:cNvSpPr>
                <a:spLocks noChangeArrowheads="1"/>
              </p:cNvSpPr>
              <p:nvPr/>
            </p:nvSpPr>
            <p:spPr bwMode="auto">
              <a:xfrm>
                <a:off x="5868988" y="1169988"/>
                <a:ext cx="90488" cy="292100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3" name="Rectangle 362"/>
              <p:cNvSpPr>
                <a:spLocks noChangeArrowheads="1"/>
              </p:cNvSpPr>
              <p:nvPr/>
            </p:nvSpPr>
            <p:spPr bwMode="auto">
              <a:xfrm>
                <a:off x="6015038" y="1277938"/>
                <a:ext cx="88900" cy="184150"/>
              </a:xfrm>
              <a:prstGeom prst="rect">
                <a:avLst/>
              </a:prstGeom>
              <a:solidFill>
                <a:srgbClr val="DD5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4" name="Rectangle 363"/>
              <p:cNvSpPr>
                <a:spLocks noChangeArrowheads="1"/>
              </p:cNvSpPr>
              <p:nvPr/>
            </p:nvSpPr>
            <p:spPr bwMode="auto">
              <a:xfrm>
                <a:off x="6161088" y="1385888"/>
                <a:ext cx="88900" cy="76200"/>
              </a:xfrm>
              <a:prstGeom prst="rect">
                <a:avLst/>
              </a:prstGeom>
              <a:solidFill>
                <a:srgbClr val="00BC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5" name="Rectangle 364"/>
              <p:cNvSpPr>
                <a:spLocks noChangeArrowheads="1"/>
              </p:cNvSpPr>
              <p:nvPr/>
            </p:nvSpPr>
            <p:spPr bwMode="auto">
              <a:xfrm>
                <a:off x="6307138" y="1244600"/>
                <a:ext cx="88900" cy="217488"/>
              </a:xfrm>
              <a:prstGeom prst="rect">
                <a:avLst/>
              </a:prstGeom>
              <a:solidFill>
                <a:srgbClr val="DD5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66" name="Rectangle 365"/>
              <p:cNvSpPr>
                <a:spLocks noChangeArrowheads="1"/>
              </p:cNvSpPr>
              <p:nvPr/>
            </p:nvSpPr>
            <p:spPr bwMode="auto">
              <a:xfrm>
                <a:off x="6451601" y="1112838"/>
                <a:ext cx="88900" cy="349250"/>
              </a:xfrm>
              <a:prstGeom prst="rect">
                <a:avLst/>
              </a:prstGeom>
              <a:solidFill>
                <a:srgbClr val="FFFFFF">
                  <a:lumMod val="65000"/>
                  <a:lumOff val="3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9732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268" name="Group 267"/>
            <p:cNvGrpSpPr/>
            <p:nvPr/>
          </p:nvGrpSpPr>
          <p:grpSpPr>
            <a:xfrm>
              <a:off x="9027486" y="2743847"/>
              <a:ext cx="887709" cy="887709"/>
              <a:chOff x="5413784" y="5749282"/>
              <a:chExt cx="652035" cy="652035"/>
            </a:xfrm>
          </p:grpSpPr>
          <p:sp>
            <p:nvSpPr>
              <p:cNvPr id="353" name="Oval 352"/>
              <p:cNvSpPr/>
              <p:nvPr/>
            </p:nvSpPr>
            <p:spPr bwMode="auto">
              <a:xfrm rot="662724">
                <a:off x="5413784" y="5749282"/>
                <a:ext cx="652035" cy="652035"/>
              </a:xfrm>
              <a:prstGeom prst="ellipse">
                <a:avLst/>
              </a:prstGeom>
              <a:solidFill>
                <a:srgbClr val="5C2D91"/>
              </a:solidFill>
              <a:ln w="47625" cap="flat" cmpd="sng" algn="ctr">
                <a:solidFill>
                  <a:srgbClr val="FFFFFF">
                    <a:lumMod val="20000"/>
                    <a:lumOff val="8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54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4" name="Freeform 353"/>
              <p:cNvSpPr/>
              <p:nvPr/>
            </p:nvSpPr>
            <p:spPr bwMode="auto">
              <a:xfrm>
                <a:off x="5518543" y="5898198"/>
                <a:ext cx="423868" cy="380636"/>
              </a:xfrm>
              <a:custGeom>
                <a:avLst/>
                <a:gdLst/>
                <a:ahLst/>
                <a:cxnLst/>
                <a:rect l="l" t="t" r="r" b="b"/>
                <a:pathLst>
                  <a:path w="3944686" h="3542339">
                    <a:moveTo>
                      <a:pt x="2192297" y="2335887"/>
                    </a:moveTo>
                    <a:cubicBezTo>
                      <a:pt x="2222820" y="2335887"/>
                      <a:pt x="2253343" y="2347531"/>
                      <a:pt x="2276631" y="2370819"/>
                    </a:cubicBezTo>
                    <a:lnTo>
                      <a:pt x="2292434" y="2386622"/>
                    </a:lnTo>
                    <a:cubicBezTo>
                      <a:pt x="2335532" y="2429720"/>
                      <a:pt x="2338751" y="2497598"/>
                      <a:pt x="2300496" y="2543150"/>
                    </a:cubicBezTo>
                    <a:cubicBezTo>
                      <a:pt x="2320893" y="2524465"/>
                      <a:pt x="2347082" y="2515893"/>
                      <a:pt x="2373272" y="2515893"/>
                    </a:cubicBezTo>
                    <a:cubicBezTo>
                      <a:pt x="2403795" y="2515893"/>
                      <a:pt x="2434317" y="2527537"/>
                      <a:pt x="2457606" y="2550825"/>
                    </a:cubicBezTo>
                    <a:lnTo>
                      <a:pt x="2473408" y="2566628"/>
                    </a:lnTo>
                    <a:cubicBezTo>
                      <a:pt x="2513642" y="2606861"/>
                      <a:pt x="2519121" y="2668690"/>
                      <a:pt x="2487855" y="2713541"/>
                    </a:cubicBezTo>
                    <a:cubicBezTo>
                      <a:pt x="2506319" y="2698588"/>
                      <a:pt x="2529091" y="2692106"/>
                      <a:pt x="2551864" y="2692106"/>
                    </a:cubicBezTo>
                    <a:cubicBezTo>
                      <a:pt x="2582388" y="2692105"/>
                      <a:pt x="2612911" y="2703750"/>
                      <a:pt x="2636199" y="2727038"/>
                    </a:cubicBezTo>
                    <a:lnTo>
                      <a:pt x="2652002" y="2742841"/>
                    </a:lnTo>
                    <a:cubicBezTo>
                      <a:pt x="2695158" y="2785997"/>
                      <a:pt x="2698327" y="2853999"/>
                      <a:pt x="2659933" y="2899565"/>
                    </a:cubicBezTo>
                    <a:cubicBezTo>
                      <a:pt x="2705363" y="2862497"/>
                      <a:pt x="2772186" y="2866128"/>
                      <a:pt x="2814793" y="2908735"/>
                    </a:cubicBezTo>
                    <a:lnTo>
                      <a:pt x="2830596" y="2924538"/>
                    </a:lnTo>
                    <a:cubicBezTo>
                      <a:pt x="2877172" y="2971114"/>
                      <a:pt x="2877172" y="3046630"/>
                      <a:pt x="2830596" y="3093207"/>
                    </a:cubicBezTo>
                    <a:lnTo>
                      <a:pt x="2578619" y="3345183"/>
                    </a:lnTo>
                    <a:cubicBezTo>
                      <a:pt x="2532042" y="3391760"/>
                      <a:pt x="2456526" y="3391760"/>
                      <a:pt x="2409950" y="3345183"/>
                    </a:cubicBezTo>
                    <a:lnTo>
                      <a:pt x="2394147" y="3329381"/>
                    </a:lnTo>
                    <a:cubicBezTo>
                      <a:pt x="2350991" y="3286224"/>
                      <a:pt x="2347822" y="3218222"/>
                      <a:pt x="2386216" y="3172656"/>
                    </a:cubicBezTo>
                    <a:cubicBezTo>
                      <a:pt x="2340786" y="3209724"/>
                      <a:pt x="2273962" y="3206093"/>
                      <a:pt x="2231356" y="3163487"/>
                    </a:cubicBezTo>
                    <a:lnTo>
                      <a:pt x="2215553" y="3147684"/>
                    </a:lnTo>
                    <a:cubicBezTo>
                      <a:pt x="2175319" y="3107450"/>
                      <a:pt x="2169841" y="3045621"/>
                      <a:pt x="2201107" y="3000770"/>
                    </a:cubicBezTo>
                    <a:cubicBezTo>
                      <a:pt x="2156148" y="3033099"/>
                      <a:pt x="2093426" y="3027937"/>
                      <a:pt x="2052763" y="2987273"/>
                    </a:cubicBezTo>
                    <a:lnTo>
                      <a:pt x="2036960" y="2971471"/>
                    </a:lnTo>
                    <a:cubicBezTo>
                      <a:pt x="1993861" y="2928372"/>
                      <a:pt x="1990644" y="2860494"/>
                      <a:pt x="2028898" y="2814942"/>
                    </a:cubicBezTo>
                    <a:cubicBezTo>
                      <a:pt x="1983303" y="2853609"/>
                      <a:pt x="1915058" y="2850537"/>
                      <a:pt x="1871788" y="2807267"/>
                    </a:cubicBezTo>
                    <a:lnTo>
                      <a:pt x="1855985" y="2791465"/>
                    </a:lnTo>
                    <a:cubicBezTo>
                      <a:pt x="1809409" y="2744889"/>
                      <a:pt x="1809409" y="2669372"/>
                      <a:pt x="1855985" y="2622796"/>
                    </a:cubicBezTo>
                    <a:lnTo>
                      <a:pt x="2107962" y="2370819"/>
                    </a:lnTo>
                    <a:cubicBezTo>
                      <a:pt x="2131251" y="2347531"/>
                      <a:pt x="2161773" y="2335887"/>
                      <a:pt x="2192297" y="2335887"/>
                    </a:cubicBezTo>
                    <a:close/>
                    <a:moveTo>
                      <a:pt x="2691097" y="2200055"/>
                    </a:moveTo>
                    <a:lnTo>
                      <a:pt x="3472263" y="2977700"/>
                    </a:lnTo>
                    <a:cubicBezTo>
                      <a:pt x="3570347" y="3075342"/>
                      <a:pt x="3570705" y="3234008"/>
                      <a:pt x="3473064" y="3332091"/>
                    </a:cubicBezTo>
                    <a:lnTo>
                      <a:pt x="3337229" y="3468542"/>
                    </a:lnTo>
                    <a:cubicBezTo>
                      <a:pt x="3239588" y="3566624"/>
                      <a:pt x="3080921" y="3566984"/>
                      <a:pt x="2982839" y="3469342"/>
                    </a:cubicBezTo>
                    <a:lnTo>
                      <a:pt x="2817512" y="3304759"/>
                    </a:lnTo>
                    <a:lnTo>
                      <a:pt x="2962277" y="3146075"/>
                    </a:lnTo>
                    <a:cubicBezTo>
                      <a:pt x="3000906" y="3080723"/>
                      <a:pt x="3068110" y="2862970"/>
                      <a:pt x="2806702" y="2742850"/>
                    </a:cubicBezTo>
                    <a:cubicBezTo>
                      <a:pt x="2788975" y="2687023"/>
                      <a:pt x="2711717" y="2588332"/>
                      <a:pt x="2632077" y="2568225"/>
                    </a:cubicBezTo>
                    <a:cubicBezTo>
                      <a:pt x="2614878" y="2517689"/>
                      <a:pt x="2571486" y="2455248"/>
                      <a:pt x="2501902" y="2409475"/>
                    </a:cubicBezTo>
                    <a:cubicBezTo>
                      <a:pt x="2576176" y="2376963"/>
                      <a:pt x="2631305" y="2325306"/>
                      <a:pt x="2691097" y="2200055"/>
                    </a:cubicBezTo>
                    <a:close/>
                    <a:moveTo>
                      <a:pt x="3102770" y="1568894"/>
                    </a:moveTo>
                    <a:cubicBezTo>
                      <a:pt x="3144045" y="1569688"/>
                      <a:pt x="3175795" y="1589531"/>
                      <a:pt x="3212307" y="1628425"/>
                    </a:cubicBezTo>
                    <a:lnTo>
                      <a:pt x="3671888" y="2085625"/>
                    </a:lnTo>
                    <a:cubicBezTo>
                      <a:pt x="3725069" y="2130076"/>
                      <a:pt x="3706813" y="2205481"/>
                      <a:pt x="3681413" y="2240406"/>
                    </a:cubicBezTo>
                    <a:lnTo>
                      <a:pt x="3305176" y="2619025"/>
                    </a:lnTo>
                    <a:lnTo>
                      <a:pt x="2636045" y="1949894"/>
                    </a:lnTo>
                    <a:lnTo>
                      <a:pt x="2580156" y="2089614"/>
                    </a:lnTo>
                    <a:lnTo>
                      <a:pt x="2580331" y="2089788"/>
                    </a:lnTo>
                    <a:lnTo>
                      <a:pt x="2573515" y="2107172"/>
                    </a:lnTo>
                    <a:cubicBezTo>
                      <a:pt x="2564396" y="2153317"/>
                      <a:pt x="2550969" y="2186218"/>
                      <a:pt x="2533301" y="2209748"/>
                    </a:cubicBezTo>
                    <a:lnTo>
                      <a:pt x="2529684" y="2218975"/>
                    </a:lnTo>
                    <a:lnTo>
                      <a:pt x="2524242" y="2224111"/>
                    </a:lnTo>
                    <a:cubicBezTo>
                      <a:pt x="2500438" y="2257107"/>
                      <a:pt x="2471081" y="2273400"/>
                      <a:pt x="2443163" y="2290413"/>
                    </a:cubicBezTo>
                    <a:cubicBezTo>
                      <a:pt x="2282032" y="2346769"/>
                      <a:pt x="2244726" y="2234057"/>
                      <a:pt x="2245520" y="2159444"/>
                    </a:cubicBezTo>
                    <a:lnTo>
                      <a:pt x="2350183" y="1889991"/>
                    </a:lnTo>
                    <a:lnTo>
                      <a:pt x="2357973" y="1868434"/>
                    </a:lnTo>
                    <a:lnTo>
                      <a:pt x="2358432" y="1868891"/>
                    </a:lnTo>
                    <a:lnTo>
                      <a:pt x="2433638" y="1685575"/>
                    </a:lnTo>
                    <a:cubicBezTo>
                      <a:pt x="2459038" y="1641919"/>
                      <a:pt x="2493963" y="1610168"/>
                      <a:pt x="2552701" y="1583181"/>
                    </a:cubicBezTo>
                    <a:close/>
                    <a:moveTo>
                      <a:pt x="3366858" y="1340370"/>
                    </a:moveTo>
                    <a:cubicBezTo>
                      <a:pt x="3396373" y="1340115"/>
                      <a:pt x="3425985" y="1351120"/>
                      <a:pt x="3448699" y="1373445"/>
                    </a:cubicBezTo>
                    <a:lnTo>
                      <a:pt x="3910198" y="1827046"/>
                    </a:lnTo>
                    <a:cubicBezTo>
                      <a:pt x="3955627" y="1871696"/>
                      <a:pt x="3956257" y="1944719"/>
                      <a:pt x="3911606" y="1990146"/>
                    </a:cubicBezTo>
                    <a:lnTo>
                      <a:pt x="3870718" y="2031747"/>
                    </a:lnTo>
                    <a:cubicBezTo>
                      <a:pt x="3826068" y="2077175"/>
                      <a:pt x="3753045" y="2077805"/>
                      <a:pt x="3707618" y="2033155"/>
                    </a:cubicBezTo>
                    <a:lnTo>
                      <a:pt x="3246119" y="1579553"/>
                    </a:lnTo>
                    <a:cubicBezTo>
                      <a:pt x="3200691" y="1534903"/>
                      <a:pt x="3200060" y="1461881"/>
                      <a:pt x="3244711" y="1416454"/>
                    </a:cubicBezTo>
                    <a:lnTo>
                      <a:pt x="3285600" y="1374853"/>
                    </a:lnTo>
                    <a:cubicBezTo>
                      <a:pt x="3307925" y="1352139"/>
                      <a:pt x="3337343" y="1340624"/>
                      <a:pt x="3366858" y="1340370"/>
                    </a:cubicBezTo>
                    <a:close/>
                    <a:moveTo>
                      <a:pt x="704734" y="662655"/>
                    </a:moveTo>
                    <a:cubicBezTo>
                      <a:pt x="787264" y="660409"/>
                      <a:pt x="791171" y="737242"/>
                      <a:pt x="778669" y="783080"/>
                    </a:cubicBezTo>
                    <a:cubicBezTo>
                      <a:pt x="731838" y="864838"/>
                      <a:pt x="584995" y="1003743"/>
                      <a:pt x="702469" y="1328387"/>
                    </a:cubicBezTo>
                    <a:cubicBezTo>
                      <a:pt x="709612" y="1383157"/>
                      <a:pt x="666750" y="1442687"/>
                      <a:pt x="573881" y="1406969"/>
                    </a:cubicBezTo>
                    <a:cubicBezTo>
                      <a:pt x="389733" y="1094230"/>
                      <a:pt x="574676" y="767205"/>
                      <a:pt x="664370" y="668780"/>
                    </a:cubicBezTo>
                    <a:cubicBezTo>
                      <a:pt x="679550" y="664912"/>
                      <a:pt x="692945" y="662976"/>
                      <a:pt x="704734" y="662655"/>
                    </a:cubicBezTo>
                    <a:close/>
                    <a:moveTo>
                      <a:pt x="1117600" y="323849"/>
                    </a:moveTo>
                    <a:cubicBezTo>
                      <a:pt x="679225" y="323849"/>
                      <a:pt x="323850" y="679224"/>
                      <a:pt x="323850" y="1117599"/>
                    </a:cubicBezTo>
                    <a:cubicBezTo>
                      <a:pt x="323850" y="1555975"/>
                      <a:pt x="679225" y="1911350"/>
                      <a:pt x="1117601" y="1911350"/>
                    </a:cubicBezTo>
                    <a:cubicBezTo>
                      <a:pt x="1555976" y="1911350"/>
                      <a:pt x="1911350" y="1555975"/>
                      <a:pt x="1911351" y="1117599"/>
                    </a:cubicBezTo>
                    <a:cubicBezTo>
                      <a:pt x="1911350" y="679224"/>
                      <a:pt x="1555976" y="323849"/>
                      <a:pt x="1117600" y="323849"/>
                    </a:cubicBezTo>
                    <a:close/>
                    <a:moveTo>
                      <a:pt x="1117600" y="0"/>
                    </a:moveTo>
                    <a:cubicBezTo>
                      <a:pt x="1734834" y="0"/>
                      <a:pt x="2235200" y="500366"/>
                      <a:pt x="2235200" y="1117599"/>
                    </a:cubicBezTo>
                    <a:cubicBezTo>
                      <a:pt x="2235200" y="1301729"/>
                      <a:pt x="2190672" y="1475458"/>
                      <a:pt x="2110973" y="1628182"/>
                    </a:cubicBezTo>
                    <a:cubicBezTo>
                      <a:pt x="2122110" y="1635147"/>
                      <a:pt x="2132273" y="1643753"/>
                      <a:pt x="2141859" y="1653293"/>
                    </a:cubicBezTo>
                    <a:lnTo>
                      <a:pt x="2260556" y="1771456"/>
                    </a:lnTo>
                    <a:cubicBezTo>
                      <a:pt x="2194277" y="1936882"/>
                      <a:pt x="2092662" y="2130894"/>
                      <a:pt x="2120901" y="2218974"/>
                    </a:cubicBezTo>
                    <a:cubicBezTo>
                      <a:pt x="2022995" y="2244740"/>
                      <a:pt x="1962724" y="2320683"/>
                      <a:pt x="1893639" y="2385053"/>
                    </a:cubicBezTo>
                    <a:lnTo>
                      <a:pt x="1652433" y="2144936"/>
                    </a:lnTo>
                    <a:lnTo>
                      <a:pt x="1625589" y="2112222"/>
                    </a:lnTo>
                    <a:cubicBezTo>
                      <a:pt x="1473521" y="2191167"/>
                      <a:pt x="1300703" y="2235200"/>
                      <a:pt x="1117600" y="2235200"/>
                    </a:cubicBezTo>
                    <a:cubicBezTo>
                      <a:pt x="500367" y="2235200"/>
                      <a:pt x="0" y="1734833"/>
                      <a:pt x="0" y="1117599"/>
                    </a:cubicBezTo>
                    <a:cubicBezTo>
                      <a:pt x="0" y="500366"/>
                      <a:pt x="500368" y="-1"/>
                      <a:pt x="111760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="horz" wrap="square" lIns="91427" tIns="45713" rIns="45713" bIns="91427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9591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1200" cap="none" spc="-49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69" name="Group 268"/>
            <p:cNvGrpSpPr>
              <a:grpSpLocks noChangeAspect="1"/>
            </p:cNvGrpSpPr>
            <p:nvPr/>
          </p:nvGrpSpPr>
          <p:grpSpPr bwMode="auto">
            <a:xfrm rot="1800000">
              <a:off x="11171054" y="2797778"/>
              <a:ext cx="561938" cy="765095"/>
              <a:chOff x="6652" y="1661"/>
              <a:chExt cx="260" cy="354"/>
            </a:xfrm>
          </p:grpSpPr>
          <p:sp>
            <p:nvSpPr>
              <p:cNvPr id="349" name="AutoShape 138"/>
              <p:cNvSpPr>
                <a:spLocks noChangeAspect="1" noChangeArrowheads="1" noTextEdit="1"/>
              </p:cNvSpPr>
              <p:nvPr/>
            </p:nvSpPr>
            <p:spPr bwMode="auto">
              <a:xfrm>
                <a:off x="6652" y="1661"/>
                <a:ext cx="259" cy="3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0" name="Freeform 349"/>
              <p:cNvSpPr>
                <a:spLocks/>
              </p:cNvSpPr>
              <p:nvPr/>
            </p:nvSpPr>
            <p:spPr bwMode="auto">
              <a:xfrm>
                <a:off x="6652" y="1669"/>
                <a:ext cx="260" cy="346"/>
              </a:xfrm>
              <a:custGeom>
                <a:avLst/>
                <a:gdLst>
                  <a:gd name="T0" fmla="*/ 253 w 253"/>
                  <a:gd name="T1" fmla="*/ 315 h 338"/>
                  <a:gd name="T2" fmla="*/ 230 w 253"/>
                  <a:gd name="T3" fmla="*/ 338 h 338"/>
                  <a:gd name="T4" fmla="*/ 23 w 253"/>
                  <a:gd name="T5" fmla="*/ 338 h 338"/>
                  <a:gd name="T6" fmla="*/ 0 w 253"/>
                  <a:gd name="T7" fmla="*/ 315 h 338"/>
                  <a:gd name="T8" fmla="*/ 0 w 253"/>
                  <a:gd name="T9" fmla="*/ 23 h 338"/>
                  <a:gd name="T10" fmla="*/ 23 w 253"/>
                  <a:gd name="T11" fmla="*/ 0 h 338"/>
                  <a:gd name="T12" fmla="*/ 230 w 253"/>
                  <a:gd name="T13" fmla="*/ 0 h 338"/>
                  <a:gd name="T14" fmla="*/ 253 w 253"/>
                  <a:gd name="T15" fmla="*/ 23 h 338"/>
                  <a:gd name="T16" fmla="*/ 253 w 253"/>
                  <a:gd name="T17" fmla="*/ 315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3" h="338">
                    <a:moveTo>
                      <a:pt x="253" y="315"/>
                    </a:moveTo>
                    <a:cubicBezTo>
                      <a:pt x="253" y="328"/>
                      <a:pt x="242" y="338"/>
                      <a:pt x="230" y="338"/>
                    </a:cubicBezTo>
                    <a:cubicBezTo>
                      <a:pt x="23" y="338"/>
                      <a:pt x="23" y="338"/>
                      <a:pt x="23" y="338"/>
                    </a:cubicBezTo>
                    <a:cubicBezTo>
                      <a:pt x="10" y="338"/>
                      <a:pt x="0" y="328"/>
                      <a:pt x="0" y="315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0"/>
                      <a:pt x="10" y="0"/>
                      <a:pt x="23" y="0"/>
                    </a:cubicBezTo>
                    <a:cubicBezTo>
                      <a:pt x="230" y="0"/>
                      <a:pt x="230" y="0"/>
                      <a:pt x="230" y="0"/>
                    </a:cubicBezTo>
                    <a:cubicBezTo>
                      <a:pt x="242" y="0"/>
                      <a:pt x="253" y="10"/>
                      <a:pt x="253" y="23"/>
                    </a:cubicBezTo>
                    <a:lnTo>
                      <a:pt x="253" y="315"/>
                    </a:lnTo>
                    <a:close/>
                  </a:path>
                </a:pathLst>
              </a:custGeom>
              <a:solidFill>
                <a:srgbClr val="B484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1" name="Rectangle 350"/>
              <p:cNvSpPr>
                <a:spLocks noChangeArrowheads="1"/>
              </p:cNvSpPr>
              <p:nvPr/>
            </p:nvSpPr>
            <p:spPr bwMode="auto">
              <a:xfrm>
                <a:off x="6677" y="1695"/>
                <a:ext cx="210" cy="29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52" name="Freeform 351"/>
              <p:cNvSpPr>
                <a:spLocks noEditPoints="1"/>
              </p:cNvSpPr>
              <p:nvPr/>
            </p:nvSpPr>
            <p:spPr bwMode="auto">
              <a:xfrm>
                <a:off x="6701" y="1661"/>
                <a:ext cx="161" cy="45"/>
              </a:xfrm>
              <a:custGeom>
                <a:avLst/>
                <a:gdLst>
                  <a:gd name="T0" fmla="*/ 146 w 156"/>
                  <a:gd name="T1" fmla="*/ 17 h 44"/>
                  <a:gd name="T2" fmla="*/ 88 w 156"/>
                  <a:gd name="T3" fmla="*/ 17 h 44"/>
                  <a:gd name="T4" fmla="*/ 88 w 156"/>
                  <a:gd name="T5" fmla="*/ 10 h 44"/>
                  <a:gd name="T6" fmla="*/ 78 w 156"/>
                  <a:gd name="T7" fmla="*/ 0 h 44"/>
                  <a:gd name="T8" fmla="*/ 68 w 156"/>
                  <a:gd name="T9" fmla="*/ 10 h 44"/>
                  <a:gd name="T10" fmla="*/ 68 w 156"/>
                  <a:gd name="T11" fmla="*/ 17 h 44"/>
                  <a:gd name="T12" fmla="*/ 10 w 156"/>
                  <a:gd name="T13" fmla="*/ 17 h 44"/>
                  <a:gd name="T14" fmla="*/ 0 w 156"/>
                  <a:gd name="T15" fmla="*/ 44 h 44"/>
                  <a:gd name="T16" fmla="*/ 156 w 156"/>
                  <a:gd name="T17" fmla="*/ 44 h 44"/>
                  <a:gd name="T18" fmla="*/ 146 w 156"/>
                  <a:gd name="T19" fmla="*/ 17 h 44"/>
                  <a:gd name="T20" fmla="*/ 78 w 156"/>
                  <a:gd name="T21" fmla="*/ 5 h 44"/>
                  <a:gd name="T22" fmla="*/ 83 w 156"/>
                  <a:gd name="T23" fmla="*/ 10 h 44"/>
                  <a:gd name="T24" fmla="*/ 78 w 156"/>
                  <a:gd name="T25" fmla="*/ 15 h 44"/>
                  <a:gd name="T26" fmla="*/ 73 w 156"/>
                  <a:gd name="T27" fmla="*/ 10 h 44"/>
                  <a:gd name="T28" fmla="*/ 78 w 156"/>
                  <a:gd name="T29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6" h="44">
                    <a:moveTo>
                      <a:pt x="146" y="17"/>
                    </a:move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10"/>
                      <a:pt x="88" y="10"/>
                      <a:pt x="88" y="10"/>
                    </a:cubicBezTo>
                    <a:cubicBezTo>
                      <a:pt x="88" y="5"/>
                      <a:pt x="84" y="0"/>
                      <a:pt x="78" y="0"/>
                    </a:cubicBezTo>
                    <a:cubicBezTo>
                      <a:pt x="73" y="0"/>
                      <a:pt x="68" y="5"/>
                      <a:pt x="68" y="10"/>
                    </a:cubicBezTo>
                    <a:cubicBezTo>
                      <a:pt x="68" y="17"/>
                      <a:pt x="68" y="17"/>
                      <a:pt x="68" y="17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56" y="44"/>
                      <a:pt x="156" y="44"/>
                      <a:pt x="156" y="44"/>
                    </a:cubicBezTo>
                    <a:lnTo>
                      <a:pt x="146" y="17"/>
                    </a:lnTo>
                    <a:close/>
                    <a:moveTo>
                      <a:pt x="78" y="5"/>
                    </a:moveTo>
                    <a:cubicBezTo>
                      <a:pt x="81" y="5"/>
                      <a:pt x="83" y="7"/>
                      <a:pt x="83" y="10"/>
                    </a:cubicBezTo>
                    <a:cubicBezTo>
                      <a:pt x="83" y="13"/>
                      <a:pt x="81" y="15"/>
                      <a:pt x="78" y="15"/>
                    </a:cubicBezTo>
                    <a:cubicBezTo>
                      <a:pt x="76" y="15"/>
                      <a:pt x="73" y="13"/>
                      <a:pt x="73" y="10"/>
                    </a:cubicBezTo>
                    <a:cubicBezTo>
                      <a:pt x="73" y="7"/>
                      <a:pt x="76" y="5"/>
                      <a:pt x="78" y="5"/>
                    </a:cubicBez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270" name="Group 269"/>
            <p:cNvGrpSpPr/>
            <p:nvPr/>
          </p:nvGrpSpPr>
          <p:grpSpPr>
            <a:xfrm flipH="1">
              <a:off x="8403772" y="3944255"/>
              <a:ext cx="1194866" cy="2972634"/>
              <a:chOff x="8371759" y="2973033"/>
              <a:chExt cx="1482609" cy="3688507"/>
            </a:xfrm>
          </p:grpSpPr>
          <p:sp>
            <p:nvSpPr>
              <p:cNvPr id="315" name="Freeform 314"/>
              <p:cNvSpPr>
                <a:spLocks/>
              </p:cNvSpPr>
              <p:nvPr/>
            </p:nvSpPr>
            <p:spPr bwMode="auto">
              <a:xfrm rot="12871490" flipH="1">
                <a:off x="9710181" y="5050116"/>
                <a:ext cx="138560" cy="144103"/>
              </a:xfrm>
              <a:custGeom>
                <a:avLst/>
                <a:gdLst>
                  <a:gd name="T0" fmla="*/ 57 w 57"/>
                  <a:gd name="T1" fmla="*/ 32 h 59"/>
                  <a:gd name="T2" fmla="*/ 25 w 57"/>
                  <a:gd name="T3" fmla="*/ 0 h 59"/>
                  <a:gd name="T4" fmla="*/ 9 w 57"/>
                  <a:gd name="T5" fmla="*/ 4 h 59"/>
                  <a:gd name="T6" fmla="*/ 12 w 57"/>
                  <a:gd name="T7" fmla="*/ 46 h 59"/>
                  <a:gd name="T8" fmla="*/ 57 w 57"/>
                  <a:gd name="T9" fmla="*/ 46 h 59"/>
                  <a:gd name="T10" fmla="*/ 57 w 57"/>
                  <a:gd name="T11" fmla="*/ 33 h 59"/>
                  <a:gd name="T12" fmla="*/ 57 w 57"/>
                  <a:gd name="T13" fmla="*/ 33 h 59"/>
                  <a:gd name="T14" fmla="*/ 57 w 57"/>
                  <a:gd name="T15" fmla="*/ 3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59">
                    <a:moveTo>
                      <a:pt x="57" y="32"/>
                    </a:moveTo>
                    <a:cubicBezTo>
                      <a:pt x="57" y="14"/>
                      <a:pt x="43" y="0"/>
                      <a:pt x="25" y="0"/>
                    </a:cubicBezTo>
                    <a:cubicBezTo>
                      <a:pt x="19" y="0"/>
                      <a:pt x="14" y="1"/>
                      <a:pt x="9" y="4"/>
                    </a:cubicBezTo>
                    <a:cubicBezTo>
                      <a:pt x="0" y="17"/>
                      <a:pt x="1" y="34"/>
                      <a:pt x="12" y="46"/>
                    </a:cubicBezTo>
                    <a:cubicBezTo>
                      <a:pt x="24" y="58"/>
                      <a:pt x="45" y="59"/>
                      <a:pt x="57" y="46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2"/>
                      <a:pt x="57" y="32"/>
                    </a:cubicBez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6" name="Freeform 315"/>
              <p:cNvSpPr>
                <a:spLocks/>
              </p:cNvSpPr>
              <p:nvPr/>
            </p:nvSpPr>
            <p:spPr bwMode="auto">
              <a:xfrm flipH="1">
                <a:off x="8371759" y="3275097"/>
                <a:ext cx="645697" cy="809198"/>
              </a:xfrm>
              <a:custGeom>
                <a:avLst/>
                <a:gdLst>
                  <a:gd name="T0" fmla="*/ 9 w 265"/>
                  <a:gd name="T1" fmla="*/ 331 h 331"/>
                  <a:gd name="T2" fmla="*/ 0 w 265"/>
                  <a:gd name="T3" fmla="*/ 331 h 331"/>
                  <a:gd name="T4" fmla="*/ 2 w 265"/>
                  <a:gd name="T5" fmla="*/ 266 h 331"/>
                  <a:gd name="T6" fmla="*/ 9 w 265"/>
                  <a:gd name="T7" fmla="*/ 266 h 331"/>
                  <a:gd name="T8" fmla="*/ 115 w 265"/>
                  <a:gd name="T9" fmla="*/ 232 h 331"/>
                  <a:gd name="T10" fmla="*/ 172 w 265"/>
                  <a:gd name="T11" fmla="*/ 151 h 331"/>
                  <a:gd name="T12" fmla="*/ 200 w 265"/>
                  <a:gd name="T13" fmla="*/ 4 h 331"/>
                  <a:gd name="T14" fmla="*/ 200 w 265"/>
                  <a:gd name="T15" fmla="*/ 1 h 331"/>
                  <a:gd name="T16" fmla="*/ 200 w 265"/>
                  <a:gd name="T17" fmla="*/ 1 h 331"/>
                  <a:gd name="T18" fmla="*/ 265 w 265"/>
                  <a:gd name="T19" fmla="*/ 0 h 331"/>
                  <a:gd name="T20" fmla="*/ 265 w 265"/>
                  <a:gd name="T21" fmla="*/ 4 h 331"/>
                  <a:gd name="T22" fmla="*/ 251 w 265"/>
                  <a:gd name="T23" fmla="*/ 120 h 331"/>
                  <a:gd name="T24" fmla="*/ 156 w 265"/>
                  <a:gd name="T25" fmla="*/ 283 h 331"/>
                  <a:gd name="T26" fmla="*/ 9 w 265"/>
                  <a:gd name="T27" fmla="*/ 331 h 331"/>
                  <a:gd name="T28" fmla="*/ 9 w 265"/>
                  <a:gd name="T29" fmla="*/ 331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5" h="331">
                    <a:moveTo>
                      <a:pt x="9" y="331"/>
                    </a:moveTo>
                    <a:cubicBezTo>
                      <a:pt x="6" y="331"/>
                      <a:pt x="3" y="331"/>
                      <a:pt x="0" y="331"/>
                    </a:cubicBezTo>
                    <a:cubicBezTo>
                      <a:pt x="2" y="266"/>
                      <a:pt x="2" y="266"/>
                      <a:pt x="2" y="266"/>
                    </a:cubicBezTo>
                    <a:cubicBezTo>
                      <a:pt x="4" y="266"/>
                      <a:pt x="7" y="266"/>
                      <a:pt x="9" y="266"/>
                    </a:cubicBezTo>
                    <a:cubicBezTo>
                      <a:pt x="56" y="266"/>
                      <a:pt x="89" y="252"/>
                      <a:pt x="115" y="232"/>
                    </a:cubicBezTo>
                    <a:cubicBezTo>
                      <a:pt x="140" y="211"/>
                      <a:pt x="159" y="182"/>
                      <a:pt x="172" y="151"/>
                    </a:cubicBezTo>
                    <a:cubicBezTo>
                      <a:pt x="198" y="89"/>
                      <a:pt x="200" y="18"/>
                      <a:pt x="200" y="4"/>
                    </a:cubicBezTo>
                    <a:cubicBezTo>
                      <a:pt x="200" y="2"/>
                      <a:pt x="200" y="1"/>
                      <a:pt x="200" y="1"/>
                    </a:cubicBezTo>
                    <a:cubicBezTo>
                      <a:pt x="200" y="1"/>
                      <a:pt x="200" y="1"/>
                      <a:pt x="200" y="1"/>
                    </a:cubicBezTo>
                    <a:cubicBezTo>
                      <a:pt x="265" y="0"/>
                      <a:pt x="265" y="0"/>
                      <a:pt x="265" y="0"/>
                    </a:cubicBezTo>
                    <a:cubicBezTo>
                      <a:pt x="265" y="0"/>
                      <a:pt x="265" y="2"/>
                      <a:pt x="265" y="4"/>
                    </a:cubicBezTo>
                    <a:cubicBezTo>
                      <a:pt x="265" y="18"/>
                      <a:pt x="264" y="65"/>
                      <a:pt x="251" y="120"/>
                    </a:cubicBezTo>
                    <a:cubicBezTo>
                      <a:pt x="237" y="174"/>
                      <a:pt x="211" y="238"/>
                      <a:pt x="156" y="283"/>
                    </a:cubicBezTo>
                    <a:cubicBezTo>
                      <a:pt x="119" y="312"/>
                      <a:pt x="70" y="331"/>
                      <a:pt x="9" y="331"/>
                    </a:cubicBezTo>
                    <a:cubicBezTo>
                      <a:pt x="9" y="331"/>
                      <a:pt x="9" y="331"/>
                      <a:pt x="9" y="331"/>
                    </a:cubicBezTo>
                  </a:path>
                </a:pathLst>
              </a:cu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7" name="Freeform 316"/>
              <p:cNvSpPr>
                <a:spLocks/>
              </p:cNvSpPr>
              <p:nvPr/>
            </p:nvSpPr>
            <p:spPr bwMode="auto">
              <a:xfrm flipH="1">
                <a:off x="8939863" y="6467555"/>
                <a:ext cx="332549" cy="185673"/>
              </a:xfrm>
              <a:custGeom>
                <a:avLst/>
                <a:gdLst>
                  <a:gd name="T0" fmla="*/ 120 w 120"/>
                  <a:gd name="T1" fmla="*/ 51 h 67"/>
                  <a:gd name="T2" fmla="*/ 68 w 120"/>
                  <a:gd name="T3" fmla="*/ 0 h 67"/>
                  <a:gd name="T4" fmla="*/ 0 w 120"/>
                  <a:gd name="T5" fmla="*/ 0 h 67"/>
                  <a:gd name="T6" fmla="*/ 0 w 120"/>
                  <a:gd name="T7" fmla="*/ 67 h 67"/>
                  <a:gd name="T8" fmla="*/ 120 w 120"/>
                  <a:gd name="T9" fmla="*/ 67 h 67"/>
                  <a:gd name="T10" fmla="*/ 120 w 120"/>
                  <a:gd name="T11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" h="67">
                    <a:moveTo>
                      <a:pt x="120" y="51"/>
                    </a:moveTo>
                    <a:lnTo>
                      <a:pt x="68" y="0"/>
                    </a:lnTo>
                    <a:lnTo>
                      <a:pt x="0" y="0"/>
                    </a:lnTo>
                    <a:lnTo>
                      <a:pt x="0" y="67"/>
                    </a:lnTo>
                    <a:lnTo>
                      <a:pt x="120" y="67"/>
                    </a:lnTo>
                    <a:lnTo>
                      <a:pt x="120" y="51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8" name="Rectangle 317"/>
              <p:cNvSpPr>
                <a:spLocks noChangeArrowheads="1"/>
              </p:cNvSpPr>
              <p:nvPr/>
            </p:nvSpPr>
            <p:spPr bwMode="auto">
              <a:xfrm flipH="1">
                <a:off x="9086736" y="5256523"/>
                <a:ext cx="185673" cy="1211027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9" name="Rectangle 318"/>
              <p:cNvSpPr>
                <a:spLocks noChangeArrowheads="1"/>
              </p:cNvSpPr>
              <p:nvPr/>
            </p:nvSpPr>
            <p:spPr bwMode="auto">
              <a:xfrm flipH="1">
                <a:off x="9086736" y="5256523"/>
                <a:ext cx="185673" cy="12110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0" name="Rectangle 319"/>
              <p:cNvSpPr>
                <a:spLocks noChangeArrowheads="1"/>
              </p:cNvSpPr>
              <p:nvPr/>
            </p:nvSpPr>
            <p:spPr bwMode="auto">
              <a:xfrm flipH="1">
                <a:off x="9374945" y="5256523"/>
                <a:ext cx="185673" cy="1211027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1" name="Rectangle 320"/>
              <p:cNvSpPr>
                <a:spLocks noChangeArrowheads="1"/>
              </p:cNvSpPr>
              <p:nvPr/>
            </p:nvSpPr>
            <p:spPr bwMode="auto">
              <a:xfrm flipH="1">
                <a:off x="9374945" y="5256523"/>
                <a:ext cx="185673" cy="12110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2" name="Freeform 321"/>
              <p:cNvSpPr>
                <a:spLocks/>
              </p:cNvSpPr>
              <p:nvPr/>
            </p:nvSpPr>
            <p:spPr bwMode="auto">
              <a:xfrm flipH="1">
                <a:off x="9230840" y="6467555"/>
                <a:ext cx="329778" cy="185673"/>
              </a:xfrm>
              <a:custGeom>
                <a:avLst/>
                <a:gdLst>
                  <a:gd name="T0" fmla="*/ 119 w 119"/>
                  <a:gd name="T1" fmla="*/ 51 h 67"/>
                  <a:gd name="T2" fmla="*/ 68 w 119"/>
                  <a:gd name="T3" fmla="*/ 0 h 67"/>
                  <a:gd name="T4" fmla="*/ 0 w 119"/>
                  <a:gd name="T5" fmla="*/ 0 h 67"/>
                  <a:gd name="T6" fmla="*/ 0 w 119"/>
                  <a:gd name="T7" fmla="*/ 67 h 67"/>
                  <a:gd name="T8" fmla="*/ 119 w 119"/>
                  <a:gd name="T9" fmla="*/ 67 h 67"/>
                  <a:gd name="T10" fmla="*/ 119 w 119"/>
                  <a:gd name="T11" fmla="*/ 5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67">
                    <a:moveTo>
                      <a:pt x="119" y="51"/>
                    </a:moveTo>
                    <a:lnTo>
                      <a:pt x="68" y="0"/>
                    </a:lnTo>
                    <a:lnTo>
                      <a:pt x="0" y="0"/>
                    </a:lnTo>
                    <a:lnTo>
                      <a:pt x="0" y="67"/>
                    </a:lnTo>
                    <a:lnTo>
                      <a:pt x="119" y="67"/>
                    </a:lnTo>
                    <a:lnTo>
                      <a:pt x="119" y="51"/>
                    </a:lnTo>
                    <a:close/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3" name="Rectangle 322"/>
              <p:cNvSpPr>
                <a:spLocks noChangeArrowheads="1"/>
              </p:cNvSpPr>
              <p:nvPr/>
            </p:nvSpPr>
            <p:spPr bwMode="auto">
              <a:xfrm flipH="1">
                <a:off x="9009144" y="3926335"/>
                <a:ext cx="678952" cy="1382843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4" name="Rectangle 323"/>
              <p:cNvSpPr>
                <a:spLocks noChangeArrowheads="1"/>
              </p:cNvSpPr>
              <p:nvPr/>
            </p:nvSpPr>
            <p:spPr bwMode="auto">
              <a:xfrm flipH="1">
                <a:off x="9009144" y="3926335"/>
                <a:ext cx="678952" cy="13828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5" name="Freeform 324"/>
              <p:cNvSpPr>
                <a:spLocks/>
              </p:cNvSpPr>
              <p:nvPr/>
            </p:nvSpPr>
            <p:spPr bwMode="auto">
              <a:xfrm flipH="1">
                <a:off x="9546761" y="3929107"/>
                <a:ext cx="307607" cy="1186086"/>
              </a:xfrm>
              <a:custGeom>
                <a:avLst/>
                <a:gdLst>
                  <a:gd name="T0" fmla="*/ 0 w 126"/>
                  <a:gd name="T1" fmla="*/ 485 h 485"/>
                  <a:gd name="T2" fmla="*/ 68 w 126"/>
                  <a:gd name="T3" fmla="*/ 0 h 485"/>
                  <a:gd name="T4" fmla="*/ 68 w 126"/>
                  <a:gd name="T5" fmla="*/ 0 h 485"/>
                  <a:gd name="T6" fmla="*/ 126 w 126"/>
                  <a:gd name="T7" fmla="*/ 21 h 485"/>
                  <a:gd name="T8" fmla="*/ 116 w 126"/>
                  <a:gd name="T9" fmla="*/ 53 h 485"/>
                  <a:gd name="T10" fmla="*/ 94 w 126"/>
                  <a:gd name="T11" fmla="*/ 146 h 485"/>
                  <a:gd name="T12" fmla="*/ 62 w 126"/>
                  <a:gd name="T13" fmla="*/ 485 h 485"/>
                  <a:gd name="T14" fmla="*/ 0 w 126"/>
                  <a:gd name="T15" fmla="*/ 485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6" h="485">
                    <a:moveTo>
                      <a:pt x="0" y="485"/>
                    </a:moveTo>
                    <a:cubicBezTo>
                      <a:pt x="0" y="193"/>
                      <a:pt x="67" y="2"/>
                      <a:pt x="68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126" y="21"/>
                      <a:pt x="126" y="21"/>
                      <a:pt x="126" y="21"/>
                    </a:cubicBezTo>
                    <a:cubicBezTo>
                      <a:pt x="126" y="21"/>
                      <a:pt x="122" y="31"/>
                      <a:pt x="116" y="53"/>
                    </a:cubicBezTo>
                    <a:cubicBezTo>
                      <a:pt x="110" y="74"/>
                      <a:pt x="102" y="106"/>
                      <a:pt x="94" y="146"/>
                    </a:cubicBezTo>
                    <a:cubicBezTo>
                      <a:pt x="78" y="227"/>
                      <a:pt x="62" y="344"/>
                      <a:pt x="62" y="485"/>
                    </a:cubicBezTo>
                    <a:cubicBezTo>
                      <a:pt x="0" y="485"/>
                      <a:pt x="0" y="485"/>
                      <a:pt x="0" y="485"/>
                    </a:cubicBezTo>
                  </a:path>
                </a:pathLst>
              </a:cu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6" name="Freeform 325"/>
              <p:cNvSpPr>
                <a:spLocks/>
              </p:cNvSpPr>
              <p:nvPr/>
            </p:nvSpPr>
            <p:spPr bwMode="auto">
              <a:xfrm flipH="1">
                <a:off x="9183729" y="3710180"/>
                <a:ext cx="177359" cy="216155"/>
              </a:xfrm>
              <a:custGeom>
                <a:avLst/>
                <a:gdLst>
                  <a:gd name="T0" fmla="*/ 73 w 73"/>
                  <a:gd name="T1" fmla="*/ 8 h 88"/>
                  <a:gd name="T2" fmla="*/ 49 w 73"/>
                  <a:gd name="T3" fmla="*/ 0 h 88"/>
                  <a:gd name="T4" fmla="*/ 42 w 73"/>
                  <a:gd name="T5" fmla="*/ 19 h 88"/>
                  <a:gd name="T6" fmla="*/ 0 w 73"/>
                  <a:gd name="T7" fmla="*/ 8 h 88"/>
                  <a:gd name="T8" fmla="*/ 0 w 73"/>
                  <a:gd name="T9" fmla="*/ 88 h 88"/>
                  <a:gd name="T10" fmla="*/ 50 w 73"/>
                  <a:gd name="T11" fmla="*/ 88 h 88"/>
                  <a:gd name="T12" fmla="*/ 50 w 73"/>
                  <a:gd name="T13" fmla="*/ 49 h 88"/>
                  <a:gd name="T14" fmla="*/ 73 w 73"/>
                  <a:gd name="T15" fmla="*/ 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3" h="88">
                    <a:moveTo>
                      <a:pt x="73" y="8"/>
                    </a:moveTo>
                    <a:cubicBezTo>
                      <a:pt x="49" y="0"/>
                      <a:pt x="49" y="0"/>
                      <a:pt x="49" y="0"/>
                    </a:cubicBezTo>
                    <a:cubicBezTo>
                      <a:pt x="42" y="19"/>
                      <a:pt x="42" y="19"/>
                      <a:pt x="42" y="1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50" y="49"/>
                      <a:pt x="50" y="49"/>
                      <a:pt x="50" y="49"/>
                    </a:cubicBezTo>
                    <a:cubicBezTo>
                      <a:pt x="51" y="36"/>
                      <a:pt x="55" y="14"/>
                      <a:pt x="73" y="8"/>
                    </a:cubicBez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7" name="Freeform 326"/>
              <p:cNvSpPr>
                <a:spLocks/>
              </p:cNvSpPr>
              <p:nvPr/>
            </p:nvSpPr>
            <p:spPr bwMode="auto">
              <a:xfrm flipH="1">
                <a:off x="9034082" y="3460769"/>
                <a:ext cx="127475" cy="185673"/>
              </a:xfrm>
              <a:custGeom>
                <a:avLst/>
                <a:gdLst>
                  <a:gd name="T0" fmla="*/ 0 w 46"/>
                  <a:gd name="T1" fmla="*/ 0 h 67"/>
                  <a:gd name="T2" fmla="*/ 46 w 46"/>
                  <a:gd name="T3" fmla="*/ 51 h 67"/>
                  <a:gd name="T4" fmla="*/ 13 w 46"/>
                  <a:gd name="T5" fmla="*/ 67 h 67"/>
                  <a:gd name="T6" fmla="*/ 0 w 46"/>
                  <a:gd name="T7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67">
                    <a:moveTo>
                      <a:pt x="0" y="0"/>
                    </a:moveTo>
                    <a:lnTo>
                      <a:pt x="46" y="51"/>
                    </a:lnTo>
                    <a:lnTo>
                      <a:pt x="13" y="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A8D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8" name="Freeform 327"/>
              <p:cNvSpPr>
                <a:spLocks/>
              </p:cNvSpPr>
              <p:nvPr/>
            </p:nvSpPr>
            <p:spPr bwMode="auto">
              <a:xfrm flipH="1">
                <a:off x="9203127" y="3524510"/>
                <a:ext cx="30485" cy="30485"/>
              </a:xfrm>
              <a:custGeom>
                <a:avLst/>
                <a:gdLst>
                  <a:gd name="T0" fmla="*/ 11 w 12"/>
                  <a:gd name="T1" fmla="*/ 3 h 12"/>
                  <a:gd name="T2" fmla="*/ 9 w 12"/>
                  <a:gd name="T3" fmla="*/ 10 h 12"/>
                  <a:gd name="T4" fmla="*/ 2 w 12"/>
                  <a:gd name="T5" fmla="*/ 8 h 12"/>
                  <a:gd name="T6" fmla="*/ 4 w 12"/>
                  <a:gd name="T7" fmla="*/ 1 h 12"/>
                  <a:gd name="T8" fmla="*/ 11 w 12"/>
                  <a:gd name="T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1" y="3"/>
                    </a:moveTo>
                    <a:cubicBezTo>
                      <a:pt x="12" y="6"/>
                      <a:pt x="11" y="9"/>
                      <a:pt x="9" y="10"/>
                    </a:cubicBezTo>
                    <a:cubicBezTo>
                      <a:pt x="6" y="12"/>
                      <a:pt x="3" y="11"/>
                      <a:pt x="2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7" y="0"/>
                      <a:pt x="10" y="1"/>
                      <a:pt x="11" y="3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9" name="Freeform 328"/>
              <p:cNvSpPr>
                <a:spLocks/>
              </p:cNvSpPr>
              <p:nvPr/>
            </p:nvSpPr>
            <p:spPr bwMode="auto">
              <a:xfrm flipH="1">
                <a:off x="9083963" y="4178518"/>
                <a:ext cx="91452" cy="63741"/>
              </a:xfrm>
              <a:custGeom>
                <a:avLst/>
                <a:gdLst>
                  <a:gd name="T0" fmla="*/ 0 w 33"/>
                  <a:gd name="T1" fmla="*/ 23 h 23"/>
                  <a:gd name="T2" fmla="*/ 17 w 33"/>
                  <a:gd name="T3" fmla="*/ 0 h 23"/>
                  <a:gd name="T4" fmla="*/ 33 w 33"/>
                  <a:gd name="T5" fmla="*/ 23 h 23"/>
                  <a:gd name="T6" fmla="*/ 0 w 33"/>
                  <a:gd name="T7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" h="23">
                    <a:moveTo>
                      <a:pt x="0" y="23"/>
                    </a:moveTo>
                    <a:lnTo>
                      <a:pt x="17" y="0"/>
                    </a:lnTo>
                    <a:lnTo>
                      <a:pt x="33" y="23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0" name="Freeform 329"/>
              <p:cNvSpPr>
                <a:spLocks/>
              </p:cNvSpPr>
              <p:nvPr/>
            </p:nvSpPr>
            <p:spPr bwMode="auto">
              <a:xfrm flipH="1">
                <a:off x="9036853" y="4178518"/>
                <a:ext cx="91452" cy="63741"/>
              </a:xfrm>
              <a:custGeom>
                <a:avLst/>
                <a:gdLst>
                  <a:gd name="T0" fmla="*/ 0 w 33"/>
                  <a:gd name="T1" fmla="*/ 23 h 23"/>
                  <a:gd name="T2" fmla="*/ 17 w 33"/>
                  <a:gd name="T3" fmla="*/ 0 h 23"/>
                  <a:gd name="T4" fmla="*/ 33 w 33"/>
                  <a:gd name="T5" fmla="*/ 23 h 23"/>
                  <a:gd name="T6" fmla="*/ 0 w 33"/>
                  <a:gd name="T7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" h="23">
                    <a:moveTo>
                      <a:pt x="0" y="23"/>
                    </a:moveTo>
                    <a:lnTo>
                      <a:pt x="17" y="0"/>
                    </a:lnTo>
                    <a:lnTo>
                      <a:pt x="33" y="23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1" name="Freeform 330"/>
              <p:cNvSpPr>
                <a:spLocks/>
              </p:cNvSpPr>
              <p:nvPr/>
            </p:nvSpPr>
            <p:spPr bwMode="auto">
              <a:xfrm flipH="1">
                <a:off x="9225299" y="3923564"/>
                <a:ext cx="149647" cy="58197"/>
              </a:xfrm>
              <a:custGeom>
                <a:avLst/>
                <a:gdLst>
                  <a:gd name="T0" fmla="*/ 54 w 54"/>
                  <a:gd name="T1" fmla="*/ 0 h 21"/>
                  <a:gd name="T2" fmla="*/ 26 w 54"/>
                  <a:gd name="T3" fmla="*/ 21 h 21"/>
                  <a:gd name="T4" fmla="*/ 0 w 54"/>
                  <a:gd name="T5" fmla="*/ 0 h 21"/>
                  <a:gd name="T6" fmla="*/ 54 w 54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21">
                    <a:moveTo>
                      <a:pt x="54" y="0"/>
                    </a:moveTo>
                    <a:lnTo>
                      <a:pt x="26" y="21"/>
                    </a:lnTo>
                    <a:lnTo>
                      <a:pt x="0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2" name="Freeform 331"/>
              <p:cNvSpPr>
                <a:spLocks/>
              </p:cNvSpPr>
              <p:nvPr/>
            </p:nvSpPr>
            <p:spPr bwMode="auto">
              <a:xfrm flipH="1">
                <a:off x="9225299" y="3923564"/>
                <a:ext cx="149647" cy="58197"/>
              </a:xfrm>
              <a:custGeom>
                <a:avLst/>
                <a:gdLst>
                  <a:gd name="T0" fmla="*/ 54 w 54"/>
                  <a:gd name="T1" fmla="*/ 0 h 21"/>
                  <a:gd name="T2" fmla="*/ 26 w 54"/>
                  <a:gd name="T3" fmla="*/ 21 h 21"/>
                  <a:gd name="T4" fmla="*/ 0 w 54"/>
                  <a:gd name="T5" fmla="*/ 0 h 21"/>
                  <a:gd name="T6" fmla="*/ 54 w 54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21">
                    <a:moveTo>
                      <a:pt x="54" y="0"/>
                    </a:moveTo>
                    <a:lnTo>
                      <a:pt x="26" y="21"/>
                    </a:lnTo>
                    <a:lnTo>
                      <a:pt x="0" y="0"/>
                    </a:lnTo>
                    <a:lnTo>
                      <a:pt x="5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3" name="Freeform 332"/>
              <p:cNvSpPr>
                <a:spLocks/>
              </p:cNvSpPr>
              <p:nvPr/>
            </p:nvSpPr>
            <p:spPr bwMode="auto">
              <a:xfrm flipH="1">
                <a:off x="9225299" y="3981761"/>
                <a:ext cx="149647" cy="554246"/>
              </a:xfrm>
              <a:custGeom>
                <a:avLst/>
                <a:gdLst>
                  <a:gd name="T0" fmla="*/ 54 w 54"/>
                  <a:gd name="T1" fmla="*/ 0 h 200"/>
                  <a:gd name="T2" fmla="*/ 26 w 54"/>
                  <a:gd name="T3" fmla="*/ 0 h 200"/>
                  <a:gd name="T4" fmla="*/ 0 w 54"/>
                  <a:gd name="T5" fmla="*/ 0 h 200"/>
                  <a:gd name="T6" fmla="*/ 28 w 54"/>
                  <a:gd name="T7" fmla="*/ 200 h 200"/>
                  <a:gd name="T8" fmla="*/ 54 w 54"/>
                  <a:gd name="T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200">
                    <a:moveTo>
                      <a:pt x="54" y="0"/>
                    </a:moveTo>
                    <a:lnTo>
                      <a:pt x="26" y="0"/>
                    </a:lnTo>
                    <a:lnTo>
                      <a:pt x="0" y="0"/>
                    </a:lnTo>
                    <a:lnTo>
                      <a:pt x="28" y="20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B4009E">
                  <a:lumMod val="20000"/>
                  <a:lumOff val="8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4" name="Freeform 333"/>
              <p:cNvSpPr>
                <a:spLocks/>
              </p:cNvSpPr>
              <p:nvPr/>
            </p:nvSpPr>
            <p:spPr bwMode="auto">
              <a:xfrm flipH="1">
                <a:off x="9225299" y="3981761"/>
                <a:ext cx="149647" cy="554246"/>
              </a:xfrm>
              <a:custGeom>
                <a:avLst/>
                <a:gdLst>
                  <a:gd name="T0" fmla="*/ 54 w 54"/>
                  <a:gd name="T1" fmla="*/ 0 h 200"/>
                  <a:gd name="T2" fmla="*/ 26 w 54"/>
                  <a:gd name="T3" fmla="*/ 0 h 200"/>
                  <a:gd name="T4" fmla="*/ 0 w 54"/>
                  <a:gd name="T5" fmla="*/ 0 h 200"/>
                  <a:gd name="T6" fmla="*/ 28 w 54"/>
                  <a:gd name="T7" fmla="*/ 200 h 200"/>
                  <a:gd name="T8" fmla="*/ 54 w 54"/>
                  <a:gd name="T9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200">
                    <a:moveTo>
                      <a:pt x="54" y="0"/>
                    </a:moveTo>
                    <a:lnTo>
                      <a:pt x="26" y="0"/>
                    </a:lnTo>
                    <a:lnTo>
                      <a:pt x="0" y="0"/>
                    </a:lnTo>
                    <a:lnTo>
                      <a:pt x="28" y="200"/>
                    </a:lnTo>
                    <a:lnTo>
                      <a:pt x="5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5" name="Freeform 334"/>
              <p:cNvSpPr>
                <a:spLocks/>
              </p:cNvSpPr>
              <p:nvPr/>
            </p:nvSpPr>
            <p:spPr bwMode="auto">
              <a:xfrm flipH="1">
                <a:off x="9264095" y="3981761"/>
                <a:ext cx="72052" cy="105307"/>
              </a:xfrm>
              <a:custGeom>
                <a:avLst/>
                <a:gdLst>
                  <a:gd name="T0" fmla="*/ 0 w 26"/>
                  <a:gd name="T1" fmla="*/ 24 h 38"/>
                  <a:gd name="T2" fmla="*/ 3 w 26"/>
                  <a:gd name="T3" fmla="*/ 38 h 38"/>
                  <a:gd name="T4" fmla="*/ 21 w 26"/>
                  <a:gd name="T5" fmla="*/ 38 h 38"/>
                  <a:gd name="T6" fmla="*/ 26 w 26"/>
                  <a:gd name="T7" fmla="*/ 18 h 38"/>
                  <a:gd name="T8" fmla="*/ 12 w 26"/>
                  <a:gd name="T9" fmla="*/ 0 h 38"/>
                  <a:gd name="T10" fmla="*/ 0 w 26"/>
                  <a:gd name="T11" fmla="*/ 2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8">
                    <a:moveTo>
                      <a:pt x="0" y="24"/>
                    </a:moveTo>
                    <a:lnTo>
                      <a:pt x="3" y="38"/>
                    </a:lnTo>
                    <a:lnTo>
                      <a:pt x="21" y="38"/>
                    </a:lnTo>
                    <a:lnTo>
                      <a:pt x="26" y="18"/>
                    </a:lnTo>
                    <a:lnTo>
                      <a:pt x="12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6" name="Freeform 335"/>
              <p:cNvSpPr>
                <a:spLocks/>
              </p:cNvSpPr>
              <p:nvPr/>
            </p:nvSpPr>
            <p:spPr bwMode="auto">
              <a:xfrm flipH="1">
                <a:off x="9255781" y="4087068"/>
                <a:ext cx="91452" cy="448940"/>
              </a:xfrm>
              <a:custGeom>
                <a:avLst/>
                <a:gdLst>
                  <a:gd name="T0" fmla="*/ 25 w 33"/>
                  <a:gd name="T1" fmla="*/ 0 h 162"/>
                  <a:gd name="T2" fmla="*/ 7 w 33"/>
                  <a:gd name="T3" fmla="*/ 0 h 162"/>
                  <a:gd name="T4" fmla="*/ 0 w 33"/>
                  <a:gd name="T5" fmla="*/ 40 h 162"/>
                  <a:gd name="T6" fmla="*/ 18 w 33"/>
                  <a:gd name="T7" fmla="*/ 162 h 162"/>
                  <a:gd name="T8" fmla="*/ 33 w 33"/>
                  <a:gd name="T9" fmla="*/ 47 h 162"/>
                  <a:gd name="T10" fmla="*/ 25 w 33"/>
                  <a:gd name="T11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162">
                    <a:moveTo>
                      <a:pt x="25" y="0"/>
                    </a:moveTo>
                    <a:lnTo>
                      <a:pt x="7" y="0"/>
                    </a:lnTo>
                    <a:lnTo>
                      <a:pt x="0" y="40"/>
                    </a:lnTo>
                    <a:lnTo>
                      <a:pt x="18" y="162"/>
                    </a:lnTo>
                    <a:lnTo>
                      <a:pt x="33" y="47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7" name="Freeform 336"/>
              <p:cNvSpPr>
                <a:spLocks/>
              </p:cNvSpPr>
              <p:nvPr/>
            </p:nvSpPr>
            <p:spPr bwMode="auto">
              <a:xfrm flipH="1">
                <a:off x="9300121" y="3923564"/>
                <a:ext cx="74825" cy="144103"/>
              </a:xfrm>
              <a:custGeom>
                <a:avLst/>
                <a:gdLst>
                  <a:gd name="T0" fmla="*/ 27 w 27"/>
                  <a:gd name="T1" fmla="*/ 21 h 52"/>
                  <a:gd name="T2" fmla="*/ 9 w 27"/>
                  <a:gd name="T3" fmla="*/ 52 h 52"/>
                  <a:gd name="T4" fmla="*/ 0 w 27"/>
                  <a:gd name="T5" fmla="*/ 21 h 52"/>
                  <a:gd name="T6" fmla="*/ 0 w 27"/>
                  <a:gd name="T7" fmla="*/ 0 h 52"/>
                  <a:gd name="T8" fmla="*/ 27 w 27"/>
                  <a:gd name="T9" fmla="*/ 2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52">
                    <a:moveTo>
                      <a:pt x="27" y="21"/>
                    </a:moveTo>
                    <a:lnTo>
                      <a:pt x="9" y="52"/>
                    </a:lnTo>
                    <a:lnTo>
                      <a:pt x="0" y="21"/>
                    </a:lnTo>
                    <a:lnTo>
                      <a:pt x="0" y="0"/>
                    </a:lnTo>
                    <a:lnTo>
                      <a:pt x="27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8" name="Freeform 337"/>
              <p:cNvSpPr>
                <a:spLocks/>
              </p:cNvSpPr>
              <p:nvPr/>
            </p:nvSpPr>
            <p:spPr bwMode="auto">
              <a:xfrm flipH="1">
                <a:off x="9225299" y="3923564"/>
                <a:ext cx="77596" cy="144103"/>
              </a:xfrm>
              <a:custGeom>
                <a:avLst/>
                <a:gdLst>
                  <a:gd name="T0" fmla="*/ 0 w 28"/>
                  <a:gd name="T1" fmla="*/ 21 h 52"/>
                  <a:gd name="T2" fmla="*/ 20 w 28"/>
                  <a:gd name="T3" fmla="*/ 52 h 52"/>
                  <a:gd name="T4" fmla="*/ 28 w 28"/>
                  <a:gd name="T5" fmla="*/ 21 h 52"/>
                  <a:gd name="T6" fmla="*/ 28 w 28"/>
                  <a:gd name="T7" fmla="*/ 0 h 52"/>
                  <a:gd name="T8" fmla="*/ 0 w 28"/>
                  <a:gd name="T9" fmla="*/ 2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52">
                    <a:moveTo>
                      <a:pt x="0" y="21"/>
                    </a:moveTo>
                    <a:lnTo>
                      <a:pt x="20" y="52"/>
                    </a:lnTo>
                    <a:lnTo>
                      <a:pt x="28" y="21"/>
                    </a:lnTo>
                    <a:lnTo>
                      <a:pt x="28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39" name="Freeform 338"/>
              <p:cNvSpPr>
                <a:spLocks/>
              </p:cNvSpPr>
              <p:nvPr/>
            </p:nvSpPr>
            <p:spPr bwMode="auto">
              <a:xfrm flipH="1">
                <a:off x="8371759" y="2973033"/>
                <a:ext cx="157960" cy="307607"/>
              </a:xfrm>
              <a:custGeom>
                <a:avLst/>
                <a:gdLst>
                  <a:gd name="T0" fmla="*/ 65 w 65"/>
                  <a:gd name="T1" fmla="*/ 91 h 126"/>
                  <a:gd name="T2" fmla="*/ 33 w 65"/>
                  <a:gd name="T3" fmla="*/ 59 h 126"/>
                  <a:gd name="T4" fmla="*/ 21 w 65"/>
                  <a:gd name="T5" fmla="*/ 61 h 126"/>
                  <a:gd name="T6" fmla="*/ 21 w 65"/>
                  <a:gd name="T7" fmla="*/ 11 h 126"/>
                  <a:gd name="T8" fmla="*/ 21 w 65"/>
                  <a:gd name="T9" fmla="*/ 11 h 126"/>
                  <a:gd name="T10" fmla="*/ 21 w 65"/>
                  <a:gd name="T11" fmla="*/ 11 h 126"/>
                  <a:gd name="T12" fmla="*/ 11 w 65"/>
                  <a:gd name="T13" fmla="*/ 0 h 126"/>
                  <a:gd name="T14" fmla="*/ 0 w 65"/>
                  <a:gd name="T15" fmla="*/ 11 h 126"/>
                  <a:gd name="T16" fmla="*/ 0 w 65"/>
                  <a:gd name="T17" fmla="*/ 11 h 126"/>
                  <a:gd name="T18" fmla="*/ 0 w 65"/>
                  <a:gd name="T19" fmla="*/ 11 h 126"/>
                  <a:gd name="T20" fmla="*/ 0 w 65"/>
                  <a:gd name="T21" fmla="*/ 126 h 126"/>
                  <a:gd name="T22" fmla="*/ 65 w 65"/>
                  <a:gd name="T23" fmla="*/ 126 h 126"/>
                  <a:gd name="T24" fmla="*/ 65 w 65"/>
                  <a:gd name="T25" fmla="*/ 92 h 126"/>
                  <a:gd name="T26" fmla="*/ 65 w 65"/>
                  <a:gd name="T27" fmla="*/ 92 h 126"/>
                  <a:gd name="T28" fmla="*/ 65 w 65"/>
                  <a:gd name="T29" fmla="*/ 91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" h="126">
                    <a:moveTo>
                      <a:pt x="65" y="91"/>
                    </a:moveTo>
                    <a:cubicBezTo>
                      <a:pt x="65" y="73"/>
                      <a:pt x="51" y="59"/>
                      <a:pt x="33" y="59"/>
                    </a:cubicBezTo>
                    <a:cubicBezTo>
                      <a:pt x="29" y="59"/>
                      <a:pt x="25" y="59"/>
                      <a:pt x="21" y="6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5"/>
                      <a:pt x="17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65" y="126"/>
                      <a:pt x="65" y="126"/>
                      <a:pt x="65" y="126"/>
                    </a:cubicBezTo>
                    <a:cubicBezTo>
                      <a:pt x="65" y="92"/>
                      <a:pt x="65" y="92"/>
                      <a:pt x="65" y="92"/>
                    </a:cubicBezTo>
                    <a:cubicBezTo>
                      <a:pt x="65" y="92"/>
                      <a:pt x="65" y="92"/>
                      <a:pt x="65" y="92"/>
                    </a:cubicBezTo>
                    <a:cubicBezTo>
                      <a:pt x="65" y="92"/>
                      <a:pt x="65" y="91"/>
                      <a:pt x="65" y="91"/>
                    </a:cubicBez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0" name="Freeform 339"/>
              <p:cNvSpPr>
                <a:spLocks/>
              </p:cNvSpPr>
              <p:nvPr/>
            </p:nvSpPr>
            <p:spPr bwMode="auto">
              <a:xfrm flipH="1">
                <a:off x="9034082" y="3460769"/>
                <a:ext cx="127475" cy="185673"/>
              </a:xfrm>
              <a:custGeom>
                <a:avLst/>
                <a:gdLst>
                  <a:gd name="T0" fmla="*/ 0 w 46"/>
                  <a:gd name="T1" fmla="*/ 0 h 67"/>
                  <a:gd name="T2" fmla="*/ 46 w 46"/>
                  <a:gd name="T3" fmla="*/ 51 h 67"/>
                  <a:gd name="T4" fmla="*/ 13 w 46"/>
                  <a:gd name="T5" fmla="*/ 67 h 67"/>
                  <a:gd name="T6" fmla="*/ 0 w 46"/>
                  <a:gd name="T7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67">
                    <a:moveTo>
                      <a:pt x="0" y="0"/>
                    </a:moveTo>
                    <a:lnTo>
                      <a:pt x="46" y="51"/>
                    </a:lnTo>
                    <a:lnTo>
                      <a:pt x="13" y="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1" name="Freeform 340"/>
              <p:cNvSpPr>
                <a:spLocks/>
              </p:cNvSpPr>
              <p:nvPr/>
            </p:nvSpPr>
            <p:spPr bwMode="auto">
              <a:xfrm flipH="1">
                <a:off x="9017455" y="3347151"/>
                <a:ext cx="487736" cy="498821"/>
              </a:xfrm>
              <a:custGeom>
                <a:avLst/>
                <a:gdLst>
                  <a:gd name="T0" fmla="*/ 0 w 199"/>
                  <a:gd name="T1" fmla="*/ 57 h 204"/>
                  <a:gd name="T2" fmla="*/ 40 w 199"/>
                  <a:gd name="T3" fmla="*/ 142 h 204"/>
                  <a:gd name="T4" fmla="*/ 40 w 199"/>
                  <a:gd name="T5" fmla="*/ 142 h 204"/>
                  <a:gd name="T6" fmla="*/ 199 w 199"/>
                  <a:gd name="T7" fmla="*/ 167 h 204"/>
                  <a:gd name="T8" fmla="*/ 196 w 199"/>
                  <a:gd name="T9" fmla="*/ 161 h 204"/>
                  <a:gd name="T10" fmla="*/ 173 w 199"/>
                  <a:gd name="T11" fmla="*/ 113 h 204"/>
                  <a:gd name="T12" fmla="*/ 144 w 199"/>
                  <a:gd name="T13" fmla="*/ 53 h 204"/>
                  <a:gd name="T14" fmla="*/ 119 w 199"/>
                  <a:gd name="T15" fmla="*/ 0 h 204"/>
                  <a:gd name="T16" fmla="*/ 0 w 199"/>
                  <a:gd name="T17" fmla="*/ 57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9" h="204">
                    <a:moveTo>
                      <a:pt x="0" y="57"/>
                    </a:moveTo>
                    <a:cubicBezTo>
                      <a:pt x="40" y="142"/>
                      <a:pt x="40" y="142"/>
                      <a:pt x="40" y="142"/>
                    </a:cubicBezTo>
                    <a:cubicBezTo>
                      <a:pt x="40" y="142"/>
                      <a:pt x="40" y="142"/>
                      <a:pt x="40" y="142"/>
                    </a:cubicBezTo>
                    <a:cubicBezTo>
                      <a:pt x="74" y="204"/>
                      <a:pt x="135" y="198"/>
                      <a:pt x="199" y="167"/>
                    </a:cubicBezTo>
                    <a:cubicBezTo>
                      <a:pt x="196" y="161"/>
                      <a:pt x="196" y="161"/>
                      <a:pt x="196" y="161"/>
                    </a:cubicBezTo>
                    <a:cubicBezTo>
                      <a:pt x="173" y="113"/>
                      <a:pt x="173" y="113"/>
                      <a:pt x="173" y="113"/>
                    </a:cubicBezTo>
                    <a:cubicBezTo>
                      <a:pt x="144" y="53"/>
                      <a:pt x="144" y="53"/>
                      <a:pt x="144" y="53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0" y="57"/>
                      <a:pt x="0" y="57"/>
                      <a:pt x="0" y="57"/>
                    </a:cubicBezTo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2" name="Freeform 341"/>
              <p:cNvSpPr>
                <a:spLocks/>
              </p:cNvSpPr>
              <p:nvPr/>
            </p:nvSpPr>
            <p:spPr bwMode="auto">
              <a:xfrm flipH="1">
                <a:off x="9203127" y="3524510"/>
                <a:ext cx="30485" cy="30485"/>
              </a:xfrm>
              <a:custGeom>
                <a:avLst/>
                <a:gdLst>
                  <a:gd name="T0" fmla="*/ 11 w 12"/>
                  <a:gd name="T1" fmla="*/ 3 h 12"/>
                  <a:gd name="T2" fmla="*/ 9 w 12"/>
                  <a:gd name="T3" fmla="*/ 10 h 12"/>
                  <a:gd name="T4" fmla="*/ 2 w 12"/>
                  <a:gd name="T5" fmla="*/ 8 h 12"/>
                  <a:gd name="T6" fmla="*/ 4 w 12"/>
                  <a:gd name="T7" fmla="*/ 1 h 12"/>
                  <a:gd name="T8" fmla="*/ 11 w 12"/>
                  <a:gd name="T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1" y="3"/>
                    </a:moveTo>
                    <a:cubicBezTo>
                      <a:pt x="12" y="6"/>
                      <a:pt x="11" y="9"/>
                      <a:pt x="9" y="10"/>
                    </a:cubicBezTo>
                    <a:cubicBezTo>
                      <a:pt x="6" y="12"/>
                      <a:pt x="3" y="11"/>
                      <a:pt x="2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7" y="0"/>
                      <a:pt x="10" y="1"/>
                      <a:pt x="11" y="3"/>
                    </a:cubicBezTo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3" name="Freeform 342"/>
              <p:cNvSpPr>
                <a:spLocks/>
              </p:cNvSpPr>
              <p:nvPr/>
            </p:nvSpPr>
            <p:spPr bwMode="auto">
              <a:xfrm flipH="1">
                <a:off x="9205898" y="3255700"/>
                <a:ext cx="412914" cy="496053"/>
              </a:xfrm>
              <a:custGeom>
                <a:avLst/>
                <a:gdLst>
                  <a:gd name="T0" fmla="*/ 166 w 169"/>
                  <a:gd name="T1" fmla="*/ 37 h 203"/>
                  <a:gd name="T2" fmla="*/ 165 w 169"/>
                  <a:gd name="T3" fmla="*/ 37 h 203"/>
                  <a:gd name="T4" fmla="*/ 166 w 169"/>
                  <a:gd name="T5" fmla="*/ 37 h 203"/>
                  <a:gd name="T6" fmla="*/ 81 w 169"/>
                  <a:gd name="T7" fmla="*/ 28 h 203"/>
                  <a:gd name="T8" fmla="*/ 61 w 169"/>
                  <a:gd name="T9" fmla="*/ 45 h 203"/>
                  <a:gd name="T10" fmla="*/ 43 w 169"/>
                  <a:gd name="T11" fmla="*/ 59 h 203"/>
                  <a:gd name="T12" fmla="*/ 43 w 169"/>
                  <a:gd name="T13" fmla="*/ 85 h 203"/>
                  <a:gd name="T14" fmla="*/ 104 w 169"/>
                  <a:gd name="T15" fmla="*/ 203 h 203"/>
                  <a:gd name="T16" fmla="*/ 101 w 169"/>
                  <a:gd name="T17" fmla="*/ 118 h 203"/>
                  <a:gd name="T18" fmla="*/ 103 w 169"/>
                  <a:gd name="T19" fmla="*/ 114 h 203"/>
                  <a:gd name="T20" fmla="*/ 131 w 169"/>
                  <a:gd name="T21" fmla="*/ 91 h 203"/>
                  <a:gd name="T22" fmla="*/ 166 w 169"/>
                  <a:gd name="T23" fmla="*/ 37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9" h="203">
                    <a:moveTo>
                      <a:pt x="166" y="37"/>
                    </a:moveTo>
                    <a:cubicBezTo>
                      <a:pt x="165" y="37"/>
                      <a:pt x="165" y="37"/>
                      <a:pt x="165" y="37"/>
                    </a:cubicBezTo>
                    <a:cubicBezTo>
                      <a:pt x="166" y="37"/>
                      <a:pt x="166" y="37"/>
                      <a:pt x="166" y="37"/>
                    </a:cubicBezTo>
                    <a:cubicBezTo>
                      <a:pt x="152" y="4"/>
                      <a:pt x="99" y="0"/>
                      <a:pt x="81" y="28"/>
                    </a:cubicBezTo>
                    <a:cubicBezTo>
                      <a:pt x="75" y="36"/>
                      <a:pt x="70" y="40"/>
                      <a:pt x="61" y="45"/>
                    </a:cubicBezTo>
                    <a:cubicBezTo>
                      <a:pt x="53" y="49"/>
                      <a:pt x="48" y="52"/>
                      <a:pt x="43" y="59"/>
                    </a:cubicBezTo>
                    <a:cubicBezTo>
                      <a:pt x="39" y="65"/>
                      <a:pt x="40" y="76"/>
                      <a:pt x="43" y="85"/>
                    </a:cubicBezTo>
                    <a:cubicBezTo>
                      <a:pt x="0" y="111"/>
                      <a:pt x="104" y="203"/>
                      <a:pt x="104" y="203"/>
                    </a:cubicBezTo>
                    <a:cubicBezTo>
                      <a:pt x="126" y="167"/>
                      <a:pt x="101" y="118"/>
                      <a:pt x="101" y="118"/>
                    </a:cubicBezTo>
                    <a:cubicBezTo>
                      <a:pt x="102" y="117"/>
                      <a:pt x="103" y="115"/>
                      <a:pt x="103" y="114"/>
                    </a:cubicBezTo>
                    <a:cubicBezTo>
                      <a:pt x="109" y="99"/>
                      <a:pt x="117" y="98"/>
                      <a:pt x="131" y="91"/>
                    </a:cubicBezTo>
                    <a:cubicBezTo>
                      <a:pt x="147" y="82"/>
                      <a:pt x="169" y="57"/>
                      <a:pt x="166" y="37"/>
                    </a:cubicBezTo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4" name="Freeform 343"/>
              <p:cNvSpPr>
                <a:spLocks/>
              </p:cNvSpPr>
              <p:nvPr/>
            </p:nvSpPr>
            <p:spPr bwMode="auto">
              <a:xfrm flipH="1">
                <a:off x="9308434" y="3543906"/>
                <a:ext cx="113620" cy="149647"/>
              </a:xfrm>
              <a:custGeom>
                <a:avLst/>
                <a:gdLst>
                  <a:gd name="T0" fmla="*/ 21 w 46"/>
                  <a:gd name="T1" fmla="*/ 0 h 61"/>
                  <a:gd name="T2" fmla="*/ 7 w 46"/>
                  <a:gd name="T3" fmla="*/ 40 h 61"/>
                  <a:gd name="T4" fmla="*/ 46 w 46"/>
                  <a:gd name="T5" fmla="*/ 53 h 61"/>
                  <a:gd name="T6" fmla="*/ 21 w 46"/>
                  <a:gd name="T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61">
                    <a:moveTo>
                      <a:pt x="21" y="0"/>
                    </a:moveTo>
                    <a:cubicBezTo>
                      <a:pt x="6" y="7"/>
                      <a:pt x="0" y="25"/>
                      <a:pt x="7" y="40"/>
                    </a:cubicBezTo>
                    <a:cubicBezTo>
                      <a:pt x="14" y="54"/>
                      <a:pt x="32" y="61"/>
                      <a:pt x="46" y="53"/>
                    </a:cubicBezTo>
                    <a:cubicBezTo>
                      <a:pt x="21" y="0"/>
                      <a:pt x="21" y="0"/>
                      <a:pt x="21" y="0"/>
                    </a:cubicBezTo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5" name="Freeform 344"/>
              <p:cNvSpPr>
                <a:spLocks/>
              </p:cNvSpPr>
              <p:nvPr/>
            </p:nvSpPr>
            <p:spPr bwMode="auto">
              <a:xfrm flipH="1">
                <a:off x="9325062" y="3577162"/>
                <a:ext cx="30485" cy="66508"/>
              </a:xfrm>
              <a:custGeom>
                <a:avLst/>
                <a:gdLst>
                  <a:gd name="T0" fmla="*/ 0 w 13"/>
                  <a:gd name="T1" fmla="*/ 0 h 27"/>
                  <a:gd name="T2" fmla="*/ 0 w 13"/>
                  <a:gd name="T3" fmla="*/ 0 h 27"/>
                  <a:gd name="T4" fmla="*/ 13 w 13"/>
                  <a:gd name="T5" fmla="*/ 27 h 27"/>
                  <a:gd name="T6" fmla="*/ 13 w 13"/>
                  <a:gd name="T7" fmla="*/ 27 h 27"/>
                  <a:gd name="T8" fmla="*/ 0 w 13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D97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6" name="Freeform 345"/>
              <p:cNvSpPr>
                <a:spLocks/>
              </p:cNvSpPr>
              <p:nvPr/>
            </p:nvSpPr>
            <p:spPr bwMode="auto">
              <a:xfrm flipH="1">
                <a:off x="9325062" y="3577162"/>
                <a:ext cx="55424" cy="69282"/>
              </a:xfrm>
              <a:custGeom>
                <a:avLst/>
                <a:gdLst>
                  <a:gd name="T0" fmla="*/ 10 w 23"/>
                  <a:gd name="T1" fmla="*/ 0 h 28"/>
                  <a:gd name="T2" fmla="*/ 3 w 23"/>
                  <a:gd name="T3" fmla="*/ 20 h 28"/>
                  <a:gd name="T4" fmla="*/ 17 w 23"/>
                  <a:gd name="T5" fmla="*/ 28 h 28"/>
                  <a:gd name="T6" fmla="*/ 23 w 23"/>
                  <a:gd name="T7" fmla="*/ 27 h 28"/>
                  <a:gd name="T8" fmla="*/ 1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10" y="0"/>
                    </a:moveTo>
                    <a:cubicBezTo>
                      <a:pt x="3" y="4"/>
                      <a:pt x="0" y="13"/>
                      <a:pt x="3" y="20"/>
                    </a:cubicBezTo>
                    <a:cubicBezTo>
                      <a:pt x="6" y="25"/>
                      <a:pt x="11" y="28"/>
                      <a:pt x="17" y="28"/>
                    </a:cubicBezTo>
                    <a:cubicBezTo>
                      <a:pt x="19" y="28"/>
                      <a:pt x="21" y="28"/>
                      <a:pt x="23" y="27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D97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7" name="Freeform 346"/>
              <p:cNvSpPr>
                <a:spLocks/>
              </p:cNvSpPr>
              <p:nvPr/>
            </p:nvSpPr>
            <p:spPr bwMode="auto">
              <a:xfrm flipH="1">
                <a:off x="8371759" y="3117137"/>
                <a:ext cx="138560" cy="144103"/>
              </a:xfrm>
              <a:custGeom>
                <a:avLst/>
                <a:gdLst>
                  <a:gd name="T0" fmla="*/ 57 w 57"/>
                  <a:gd name="T1" fmla="*/ 32 h 59"/>
                  <a:gd name="T2" fmla="*/ 25 w 57"/>
                  <a:gd name="T3" fmla="*/ 0 h 59"/>
                  <a:gd name="T4" fmla="*/ 9 w 57"/>
                  <a:gd name="T5" fmla="*/ 4 h 59"/>
                  <a:gd name="T6" fmla="*/ 12 w 57"/>
                  <a:gd name="T7" fmla="*/ 46 h 59"/>
                  <a:gd name="T8" fmla="*/ 57 w 57"/>
                  <a:gd name="T9" fmla="*/ 46 h 59"/>
                  <a:gd name="T10" fmla="*/ 57 w 57"/>
                  <a:gd name="T11" fmla="*/ 33 h 59"/>
                  <a:gd name="T12" fmla="*/ 57 w 57"/>
                  <a:gd name="T13" fmla="*/ 33 h 59"/>
                  <a:gd name="T14" fmla="*/ 57 w 57"/>
                  <a:gd name="T15" fmla="*/ 3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59">
                    <a:moveTo>
                      <a:pt x="57" y="32"/>
                    </a:moveTo>
                    <a:cubicBezTo>
                      <a:pt x="57" y="14"/>
                      <a:pt x="43" y="0"/>
                      <a:pt x="25" y="0"/>
                    </a:cubicBezTo>
                    <a:cubicBezTo>
                      <a:pt x="19" y="0"/>
                      <a:pt x="14" y="1"/>
                      <a:pt x="9" y="4"/>
                    </a:cubicBezTo>
                    <a:cubicBezTo>
                      <a:pt x="0" y="17"/>
                      <a:pt x="1" y="34"/>
                      <a:pt x="12" y="46"/>
                    </a:cubicBezTo>
                    <a:cubicBezTo>
                      <a:pt x="24" y="58"/>
                      <a:pt x="45" y="59"/>
                      <a:pt x="57" y="46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2"/>
                      <a:pt x="57" y="32"/>
                    </a:cubicBezTo>
                    <a:close/>
                  </a:path>
                </a:pathLst>
              </a:custGeom>
              <a:solidFill>
                <a:srgbClr val="FFA83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8" name="Freeform 347"/>
              <p:cNvSpPr>
                <a:spLocks/>
              </p:cNvSpPr>
              <p:nvPr/>
            </p:nvSpPr>
            <p:spPr bwMode="auto">
              <a:xfrm flipH="1">
                <a:off x="8610084" y="5178932"/>
                <a:ext cx="66509" cy="1482608"/>
              </a:xfrm>
              <a:custGeom>
                <a:avLst/>
                <a:gdLst>
                  <a:gd name="T0" fmla="*/ 24 w 24"/>
                  <a:gd name="T1" fmla="*/ 0 h 535"/>
                  <a:gd name="T2" fmla="*/ 0 w 24"/>
                  <a:gd name="T3" fmla="*/ 0 h 535"/>
                  <a:gd name="T4" fmla="*/ 0 w 24"/>
                  <a:gd name="T5" fmla="*/ 535 h 535"/>
                  <a:gd name="T6" fmla="*/ 24 w 24"/>
                  <a:gd name="T7" fmla="*/ 535 h 535"/>
                  <a:gd name="T8" fmla="*/ 24 w 24"/>
                  <a:gd name="T9" fmla="*/ 452 h 535"/>
                  <a:gd name="T10" fmla="*/ 24 w 24"/>
                  <a:gd name="T11" fmla="*/ 158 h 535"/>
                  <a:gd name="T12" fmla="*/ 24 w 24"/>
                  <a:gd name="T13" fmla="*/ 0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535">
                    <a:moveTo>
                      <a:pt x="24" y="0"/>
                    </a:moveTo>
                    <a:lnTo>
                      <a:pt x="0" y="0"/>
                    </a:lnTo>
                    <a:lnTo>
                      <a:pt x="0" y="535"/>
                    </a:lnTo>
                    <a:lnTo>
                      <a:pt x="24" y="535"/>
                    </a:lnTo>
                    <a:lnTo>
                      <a:pt x="24" y="452"/>
                    </a:lnTo>
                    <a:lnTo>
                      <a:pt x="24" y="158"/>
                    </a:lnTo>
                    <a:lnTo>
                      <a:pt x="2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cxnSp>
          <p:nvCxnSpPr>
            <p:cNvPr id="271" name="Straight Connector 270"/>
            <p:cNvCxnSpPr/>
            <p:nvPr/>
          </p:nvCxnSpPr>
          <p:spPr>
            <a:xfrm>
              <a:off x="9940773" y="3828810"/>
              <a:ext cx="995923" cy="0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272" name="Straight Connector 271"/>
            <p:cNvCxnSpPr/>
            <p:nvPr/>
          </p:nvCxnSpPr>
          <p:spPr>
            <a:xfrm>
              <a:off x="9940773" y="4114811"/>
              <a:ext cx="995923" cy="0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273" name="Straight Connector 272"/>
            <p:cNvCxnSpPr/>
            <p:nvPr/>
          </p:nvCxnSpPr>
          <p:spPr>
            <a:xfrm>
              <a:off x="9940773" y="4400814"/>
              <a:ext cx="995923" cy="0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274" name="Straight Connector 273"/>
            <p:cNvCxnSpPr/>
            <p:nvPr/>
          </p:nvCxnSpPr>
          <p:spPr>
            <a:xfrm>
              <a:off x="9940773" y="3542809"/>
              <a:ext cx="995923" cy="0"/>
            </a:xfrm>
            <a:prstGeom prst="line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</a:ln>
            <a:effectLst/>
          </p:spPr>
        </p:cxnSp>
        <p:grpSp>
          <p:nvGrpSpPr>
            <p:cNvPr id="275" name="Group 274"/>
            <p:cNvGrpSpPr/>
            <p:nvPr/>
          </p:nvGrpSpPr>
          <p:grpSpPr>
            <a:xfrm>
              <a:off x="9779311" y="2139387"/>
              <a:ext cx="692522" cy="692522"/>
              <a:chOff x="9123452" y="2463609"/>
              <a:chExt cx="652035" cy="652035"/>
            </a:xfrm>
          </p:grpSpPr>
          <p:sp>
            <p:nvSpPr>
              <p:cNvPr id="313" name="Oval 312"/>
              <p:cNvSpPr/>
              <p:nvPr/>
            </p:nvSpPr>
            <p:spPr bwMode="auto">
              <a:xfrm rot="662724">
                <a:off x="9123452" y="2463609"/>
                <a:ext cx="652035" cy="652035"/>
              </a:xfrm>
              <a:prstGeom prst="ellipse">
                <a:avLst/>
              </a:prstGeom>
              <a:solidFill>
                <a:srgbClr val="FFB900"/>
              </a:solidFill>
              <a:ln w="47625" cap="flat" cmpd="sng" algn="ctr">
                <a:solidFill>
                  <a:srgbClr val="FFFFFF">
                    <a:lumMod val="20000"/>
                    <a:lumOff val="8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54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4" name="Freeform 313"/>
              <p:cNvSpPr>
                <a:spLocks/>
              </p:cNvSpPr>
              <p:nvPr/>
            </p:nvSpPr>
            <p:spPr bwMode="auto">
              <a:xfrm>
                <a:off x="9232427" y="2627803"/>
                <a:ext cx="434085" cy="323647"/>
              </a:xfrm>
              <a:custGeom>
                <a:avLst/>
                <a:gdLst>
                  <a:gd name="connsiteX0" fmla="*/ 520248 w 655814"/>
                  <a:gd name="connsiteY0" fmla="*/ 327907 h 488964"/>
                  <a:gd name="connsiteX1" fmla="*/ 514455 w 655814"/>
                  <a:gd name="connsiteY1" fmla="*/ 328486 h 488964"/>
                  <a:gd name="connsiteX2" fmla="*/ 508661 w 655814"/>
                  <a:gd name="connsiteY2" fmla="*/ 329645 h 488964"/>
                  <a:gd name="connsiteX3" fmla="*/ 504026 w 655814"/>
                  <a:gd name="connsiteY3" fmla="*/ 333121 h 488964"/>
                  <a:gd name="connsiteX4" fmla="*/ 499971 w 655814"/>
                  <a:gd name="connsiteY4" fmla="*/ 336597 h 488964"/>
                  <a:gd name="connsiteX5" fmla="*/ 495916 w 655814"/>
                  <a:gd name="connsiteY5" fmla="*/ 340653 h 488964"/>
                  <a:gd name="connsiteX6" fmla="*/ 493598 w 655814"/>
                  <a:gd name="connsiteY6" fmla="*/ 345867 h 488964"/>
                  <a:gd name="connsiteX7" fmla="*/ 492440 w 655814"/>
                  <a:gd name="connsiteY7" fmla="*/ 351081 h 488964"/>
                  <a:gd name="connsiteX8" fmla="*/ 491281 w 655814"/>
                  <a:gd name="connsiteY8" fmla="*/ 356295 h 488964"/>
                  <a:gd name="connsiteX9" fmla="*/ 492440 w 655814"/>
                  <a:gd name="connsiteY9" fmla="*/ 362668 h 488964"/>
                  <a:gd name="connsiteX10" fmla="*/ 493598 w 655814"/>
                  <a:gd name="connsiteY10" fmla="*/ 367882 h 488964"/>
                  <a:gd name="connsiteX11" fmla="*/ 495916 w 655814"/>
                  <a:gd name="connsiteY11" fmla="*/ 372516 h 488964"/>
                  <a:gd name="connsiteX12" fmla="*/ 499971 w 655814"/>
                  <a:gd name="connsiteY12" fmla="*/ 376572 h 488964"/>
                  <a:gd name="connsiteX13" fmla="*/ 504026 w 655814"/>
                  <a:gd name="connsiteY13" fmla="*/ 380627 h 488964"/>
                  <a:gd name="connsiteX14" fmla="*/ 508661 w 655814"/>
                  <a:gd name="connsiteY14" fmla="*/ 382945 h 488964"/>
                  <a:gd name="connsiteX15" fmla="*/ 514455 w 655814"/>
                  <a:gd name="connsiteY15" fmla="*/ 384103 h 488964"/>
                  <a:gd name="connsiteX16" fmla="*/ 520248 w 655814"/>
                  <a:gd name="connsiteY16" fmla="*/ 385262 h 488964"/>
                  <a:gd name="connsiteX17" fmla="*/ 524883 w 655814"/>
                  <a:gd name="connsiteY17" fmla="*/ 384103 h 488964"/>
                  <a:gd name="connsiteX18" fmla="*/ 529517 w 655814"/>
                  <a:gd name="connsiteY18" fmla="*/ 383524 h 488964"/>
                  <a:gd name="connsiteX19" fmla="*/ 533573 w 655814"/>
                  <a:gd name="connsiteY19" fmla="*/ 381786 h 488964"/>
                  <a:gd name="connsiteX20" fmla="*/ 537628 w 655814"/>
                  <a:gd name="connsiteY20" fmla="*/ 378889 h 488964"/>
                  <a:gd name="connsiteX21" fmla="*/ 541104 w 655814"/>
                  <a:gd name="connsiteY21" fmla="*/ 375992 h 488964"/>
                  <a:gd name="connsiteX22" fmla="*/ 543422 w 655814"/>
                  <a:gd name="connsiteY22" fmla="*/ 372516 h 488964"/>
                  <a:gd name="connsiteX23" fmla="*/ 546318 w 655814"/>
                  <a:gd name="connsiteY23" fmla="*/ 368461 h 488964"/>
                  <a:gd name="connsiteX24" fmla="*/ 547477 w 655814"/>
                  <a:gd name="connsiteY24" fmla="*/ 363826 h 488964"/>
                  <a:gd name="connsiteX25" fmla="*/ 547477 w 655814"/>
                  <a:gd name="connsiteY25" fmla="*/ 362668 h 488964"/>
                  <a:gd name="connsiteX26" fmla="*/ 548056 w 655814"/>
                  <a:gd name="connsiteY26" fmla="*/ 360350 h 488964"/>
                  <a:gd name="connsiteX27" fmla="*/ 549215 w 655814"/>
                  <a:gd name="connsiteY27" fmla="*/ 357454 h 488964"/>
                  <a:gd name="connsiteX28" fmla="*/ 549215 w 655814"/>
                  <a:gd name="connsiteY28" fmla="*/ 356295 h 488964"/>
                  <a:gd name="connsiteX29" fmla="*/ 548056 w 655814"/>
                  <a:gd name="connsiteY29" fmla="*/ 351081 h 488964"/>
                  <a:gd name="connsiteX30" fmla="*/ 546898 w 655814"/>
                  <a:gd name="connsiteY30" fmla="*/ 345867 h 488964"/>
                  <a:gd name="connsiteX31" fmla="*/ 544001 w 655814"/>
                  <a:gd name="connsiteY31" fmla="*/ 340653 h 488964"/>
                  <a:gd name="connsiteX32" fmla="*/ 541104 w 655814"/>
                  <a:gd name="connsiteY32" fmla="*/ 336597 h 488964"/>
                  <a:gd name="connsiteX33" fmla="*/ 536470 w 655814"/>
                  <a:gd name="connsiteY33" fmla="*/ 333121 h 488964"/>
                  <a:gd name="connsiteX34" fmla="*/ 531835 w 655814"/>
                  <a:gd name="connsiteY34" fmla="*/ 329645 h 488964"/>
                  <a:gd name="connsiteX35" fmla="*/ 526041 w 655814"/>
                  <a:gd name="connsiteY35" fmla="*/ 328486 h 488964"/>
                  <a:gd name="connsiteX36" fmla="*/ 512137 w 655814"/>
                  <a:gd name="connsiteY36" fmla="*/ 221308 h 488964"/>
                  <a:gd name="connsiteX37" fmla="*/ 520248 w 655814"/>
                  <a:gd name="connsiteY37" fmla="*/ 249117 h 488964"/>
                  <a:gd name="connsiteX38" fmla="*/ 524303 w 655814"/>
                  <a:gd name="connsiteY38" fmla="*/ 249117 h 488964"/>
                  <a:gd name="connsiteX39" fmla="*/ 527779 w 655814"/>
                  <a:gd name="connsiteY39" fmla="*/ 249117 h 488964"/>
                  <a:gd name="connsiteX40" fmla="*/ 531835 w 655814"/>
                  <a:gd name="connsiteY40" fmla="*/ 249696 h 488964"/>
                  <a:gd name="connsiteX41" fmla="*/ 535890 w 655814"/>
                  <a:gd name="connsiteY41" fmla="*/ 249696 h 488964"/>
                  <a:gd name="connsiteX42" fmla="*/ 539366 w 655814"/>
                  <a:gd name="connsiteY42" fmla="*/ 250275 h 488964"/>
                  <a:gd name="connsiteX43" fmla="*/ 543422 w 655814"/>
                  <a:gd name="connsiteY43" fmla="*/ 250855 h 488964"/>
                  <a:gd name="connsiteX44" fmla="*/ 546898 w 655814"/>
                  <a:gd name="connsiteY44" fmla="*/ 252593 h 488964"/>
                  <a:gd name="connsiteX45" fmla="*/ 550953 w 655814"/>
                  <a:gd name="connsiteY45" fmla="*/ 253172 h 488964"/>
                  <a:gd name="connsiteX46" fmla="*/ 564278 w 655814"/>
                  <a:gd name="connsiteY46" fmla="*/ 229419 h 488964"/>
                  <a:gd name="connsiteX47" fmla="*/ 608887 w 655814"/>
                  <a:gd name="connsiteY47" fmla="*/ 254331 h 488964"/>
                  <a:gd name="connsiteX48" fmla="*/ 595562 w 655814"/>
                  <a:gd name="connsiteY48" fmla="*/ 278663 h 488964"/>
                  <a:gd name="connsiteX49" fmla="*/ 600777 w 655814"/>
                  <a:gd name="connsiteY49" fmla="*/ 283877 h 488964"/>
                  <a:gd name="connsiteX50" fmla="*/ 605991 w 655814"/>
                  <a:gd name="connsiteY50" fmla="*/ 289670 h 488964"/>
                  <a:gd name="connsiteX51" fmla="*/ 610625 w 655814"/>
                  <a:gd name="connsiteY51" fmla="*/ 296623 h 488964"/>
                  <a:gd name="connsiteX52" fmla="*/ 614681 w 655814"/>
                  <a:gd name="connsiteY52" fmla="*/ 302995 h 488964"/>
                  <a:gd name="connsiteX53" fmla="*/ 642489 w 655814"/>
                  <a:gd name="connsiteY53" fmla="*/ 296043 h 488964"/>
                  <a:gd name="connsiteX54" fmla="*/ 655814 w 655814"/>
                  <a:gd name="connsiteY54" fmla="*/ 345287 h 488964"/>
                  <a:gd name="connsiteX55" fmla="*/ 628585 w 655814"/>
                  <a:gd name="connsiteY55" fmla="*/ 352819 h 488964"/>
                  <a:gd name="connsiteX56" fmla="*/ 628585 w 655814"/>
                  <a:gd name="connsiteY56" fmla="*/ 355136 h 488964"/>
                  <a:gd name="connsiteX57" fmla="*/ 628585 w 655814"/>
                  <a:gd name="connsiteY57" fmla="*/ 358612 h 488964"/>
                  <a:gd name="connsiteX58" fmla="*/ 628006 w 655814"/>
                  <a:gd name="connsiteY58" fmla="*/ 361509 h 488964"/>
                  <a:gd name="connsiteX59" fmla="*/ 628006 w 655814"/>
                  <a:gd name="connsiteY59" fmla="*/ 363826 h 488964"/>
                  <a:gd name="connsiteX60" fmla="*/ 626847 w 655814"/>
                  <a:gd name="connsiteY60" fmla="*/ 368461 h 488964"/>
                  <a:gd name="connsiteX61" fmla="*/ 626268 w 655814"/>
                  <a:gd name="connsiteY61" fmla="*/ 373675 h 488964"/>
                  <a:gd name="connsiteX62" fmla="*/ 625109 w 655814"/>
                  <a:gd name="connsiteY62" fmla="*/ 378310 h 488964"/>
                  <a:gd name="connsiteX63" fmla="*/ 624530 w 655814"/>
                  <a:gd name="connsiteY63" fmla="*/ 383524 h 488964"/>
                  <a:gd name="connsiteX64" fmla="*/ 648862 w 655814"/>
                  <a:gd name="connsiteY64" fmla="*/ 397428 h 488964"/>
                  <a:gd name="connsiteX65" fmla="*/ 623950 w 655814"/>
                  <a:gd name="connsiteY65" fmla="*/ 442617 h 488964"/>
                  <a:gd name="connsiteX66" fmla="*/ 598459 w 655814"/>
                  <a:gd name="connsiteY66" fmla="*/ 428133 h 488964"/>
                  <a:gd name="connsiteX67" fmla="*/ 595562 w 655814"/>
                  <a:gd name="connsiteY67" fmla="*/ 431030 h 488964"/>
                  <a:gd name="connsiteX68" fmla="*/ 593245 w 655814"/>
                  <a:gd name="connsiteY68" fmla="*/ 433927 h 488964"/>
                  <a:gd name="connsiteX69" fmla="*/ 590348 w 655814"/>
                  <a:gd name="connsiteY69" fmla="*/ 436244 h 488964"/>
                  <a:gd name="connsiteX70" fmla="*/ 586872 w 655814"/>
                  <a:gd name="connsiteY70" fmla="*/ 438561 h 488964"/>
                  <a:gd name="connsiteX71" fmla="*/ 583976 w 655814"/>
                  <a:gd name="connsiteY71" fmla="*/ 440879 h 488964"/>
                  <a:gd name="connsiteX72" fmla="*/ 581079 w 655814"/>
                  <a:gd name="connsiteY72" fmla="*/ 443196 h 488964"/>
                  <a:gd name="connsiteX73" fmla="*/ 577603 w 655814"/>
                  <a:gd name="connsiteY73" fmla="*/ 444934 h 488964"/>
                  <a:gd name="connsiteX74" fmla="*/ 574127 w 655814"/>
                  <a:gd name="connsiteY74" fmla="*/ 447252 h 488964"/>
                  <a:gd name="connsiteX75" fmla="*/ 581658 w 655814"/>
                  <a:gd name="connsiteY75" fmla="*/ 475060 h 488964"/>
                  <a:gd name="connsiteX76" fmla="*/ 532414 w 655814"/>
                  <a:gd name="connsiteY76" fmla="*/ 488964 h 488964"/>
                  <a:gd name="connsiteX77" fmla="*/ 524303 w 655814"/>
                  <a:gd name="connsiteY77" fmla="*/ 461156 h 488964"/>
                  <a:gd name="connsiteX78" fmla="*/ 520248 w 655814"/>
                  <a:gd name="connsiteY78" fmla="*/ 461156 h 488964"/>
                  <a:gd name="connsiteX79" fmla="*/ 516193 w 655814"/>
                  <a:gd name="connsiteY79" fmla="*/ 461156 h 488964"/>
                  <a:gd name="connsiteX80" fmla="*/ 512137 w 655814"/>
                  <a:gd name="connsiteY80" fmla="*/ 460576 h 488964"/>
                  <a:gd name="connsiteX81" fmla="*/ 508661 w 655814"/>
                  <a:gd name="connsiteY81" fmla="*/ 459418 h 488964"/>
                  <a:gd name="connsiteX82" fmla="*/ 504606 w 655814"/>
                  <a:gd name="connsiteY82" fmla="*/ 459418 h 488964"/>
                  <a:gd name="connsiteX83" fmla="*/ 501130 w 655814"/>
                  <a:gd name="connsiteY83" fmla="*/ 458838 h 488964"/>
                  <a:gd name="connsiteX84" fmla="*/ 497654 w 655814"/>
                  <a:gd name="connsiteY84" fmla="*/ 457680 h 488964"/>
                  <a:gd name="connsiteX85" fmla="*/ 493598 w 655814"/>
                  <a:gd name="connsiteY85" fmla="*/ 457100 h 488964"/>
                  <a:gd name="connsiteX86" fmla="*/ 479694 w 655814"/>
                  <a:gd name="connsiteY86" fmla="*/ 480853 h 488964"/>
                  <a:gd name="connsiteX87" fmla="*/ 434505 w 655814"/>
                  <a:gd name="connsiteY87" fmla="*/ 455942 h 488964"/>
                  <a:gd name="connsiteX88" fmla="*/ 448989 w 655814"/>
                  <a:gd name="connsiteY88" fmla="*/ 431030 h 488964"/>
                  <a:gd name="connsiteX89" fmla="*/ 443195 w 655814"/>
                  <a:gd name="connsiteY89" fmla="*/ 425816 h 488964"/>
                  <a:gd name="connsiteX90" fmla="*/ 437981 w 655814"/>
                  <a:gd name="connsiteY90" fmla="*/ 419443 h 488964"/>
                  <a:gd name="connsiteX91" fmla="*/ 433347 w 655814"/>
                  <a:gd name="connsiteY91" fmla="*/ 413650 h 488964"/>
                  <a:gd name="connsiteX92" fmla="*/ 429291 w 655814"/>
                  <a:gd name="connsiteY92" fmla="*/ 407277 h 488964"/>
                  <a:gd name="connsiteX93" fmla="*/ 402062 w 655814"/>
                  <a:gd name="connsiteY93" fmla="*/ 414229 h 488964"/>
                  <a:gd name="connsiteX94" fmla="*/ 388158 w 655814"/>
                  <a:gd name="connsiteY94" fmla="*/ 364985 h 488964"/>
                  <a:gd name="connsiteX95" fmla="*/ 415966 w 655814"/>
                  <a:gd name="connsiteY95" fmla="*/ 356874 h 488964"/>
                  <a:gd name="connsiteX96" fmla="*/ 415966 w 655814"/>
                  <a:gd name="connsiteY96" fmla="*/ 349343 h 488964"/>
                  <a:gd name="connsiteX97" fmla="*/ 417125 w 655814"/>
                  <a:gd name="connsiteY97" fmla="*/ 341811 h 488964"/>
                  <a:gd name="connsiteX98" fmla="*/ 418284 w 655814"/>
                  <a:gd name="connsiteY98" fmla="*/ 333700 h 488964"/>
                  <a:gd name="connsiteX99" fmla="*/ 420022 w 655814"/>
                  <a:gd name="connsiteY99" fmla="*/ 326169 h 488964"/>
                  <a:gd name="connsiteX100" fmla="*/ 397427 w 655814"/>
                  <a:gd name="connsiteY100" fmla="*/ 314003 h 488964"/>
                  <a:gd name="connsiteX101" fmla="*/ 422919 w 655814"/>
                  <a:gd name="connsiteY101" fmla="*/ 268235 h 488964"/>
                  <a:gd name="connsiteX102" fmla="*/ 445513 w 655814"/>
                  <a:gd name="connsiteY102" fmla="*/ 281560 h 488964"/>
                  <a:gd name="connsiteX103" fmla="*/ 447830 w 655814"/>
                  <a:gd name="connsiteY103" fmla="*/ 279242 h 488964"/>
                  <a:gd name="connsiteX104" fmla="*/ 450727 w 655814"/>
                  <a:gd name="connsiteY104" fmla="*/ 276346 h 488964"/>
                  <a:gd name="connsiteX105" fmla="*/ 454203 w 655814"/>
                  <a:gd name="connsiteY105" fmla="*/ 274028 h 488964"/>
                  <a:gd name="connsiteX106" fmla="*/ 456520 w 655814"/>
                  <a:gd name="connsiteY106" fmla="*/ 271132 h 488964"/>
                  <a:gd name="connsiteX107" fmla="*/ 459996 w 655814"/>
                  <a:gd name="connsiteY107" fmla="*/ 269394 h 488964"/>
                  <a:gd name="connsiteX108" fmla="*/ 463472 w 655814"/>
                  <a:gd name="connsiteY108" fmla="*/ 267076 h 488964"/>
                  <a:gd name="connsiteX109" fmla="*/ 466949 w 655814"/>
                  <a:gd name="connsiteY109" fmla="*/ 265338 h 488964"/>
                  <a:gd name="connsiteX110" fmla="*/ 470425 w 655814"/>
                  <a:gd name="connsiteY110" fmla="*/ 263021 h 488964"/>
                  <a:gd name="connsiteX111" fmla="*/ 462314 w 655814"/>
                  <a:gd name="connsiteY111" fmla="*/ 235212 h 488964"/>
                  <a:gd name="connsiteX112" fmla="*/ 209142 w 655814"/>
                  <a:gd name="connsiteY112" fmla="*/ 107608 h 488964"/>
                  <a:gd name="connsiteX113" fmla="*/ 188286 w 655814"/>
                  <a:gd name="connsiteY113" fmla="*/ 109922 h 488964"/>
                  <a:gd name="connsiteX114" fmla="*/ 169747 w 655814"/>
                  <a:gd name="connsiteY114" fmla="*/ 115707 h 488964"/>
                  <a:gd name="connsiteX115" fmla="*/ 152367 w 655814"/>
                  <a:gd name="connsiteY115" fmla="*/ 124964 h 488964"/>
                  <a:gd name="connsiteX116" fmla="*/ 137304 w 655814"/>
                  <a:gd name="connsiteY116" fmla="*/ 137113 h 488964"/>
                  <a:gd name="connsiteX117" fmla="*/ 125717 w 655814"/>
                  <a:gd name="connsiteY117" fmla="*/ 151576 h 488964"/>
                  <a:gd name="connsiteX118" fmla="*/ 116448 w 655814"/>
                  <a:gd name="connsiteY118" fmla="*/ 168932 h 488964"/>
                  <a:gd name="connsiteX119" fmla="*/ 110075 w 655814"/>
                  <a:gd name="connsiteY119" fmla="*/ 187446 h 488964"/>
                  <a:gd name="connsiteX120" fmla="*/ 108337 w 655814"/>
                  <a:gd name="connsiteY120" fmla="*/ 207694 h 488964"/>
                  <a:gd name="connsiteX121" fmla="*/ 110075 w 655814"/>
                  <a:gd name="connsiteY121" fmla="*/ 227365 h 488964"/>
                  <a:gd name="connsiteX122" fmla="*/ 116448 w 655814"/>
                  <a:gd name="connsiteY122" fmla="*/ 247035 h 488964"/>
                  <a:gd name="connsiteX123" fmla="*/ 125717 w 655814"/>
                  <a:gd name="connsiteY123" fmla="*/ 263234 h 488964"/>
                  <a:gd name="connsiteX124" fmla="*/ 137304 w 655814"/>
                  <a:gd name="connsiteY124" fmla="*/ 278854 h 488964"/>
                  <a:gd name="connsiteX125" fmla="*/ 152367 w 655814"/>
                  <a:gd name="connsiteY125" fmla="*/ 290425 h 488964"/>
                  <a:gd name="connsiteX126" fmla="*/ 169747 w 655814"/>
                  <a:gd name="connsiteY126" fmla="*/ 300260 h 488964"/>
                  <a:gd name="connsiteX127" fmla="*/ 188286 w 655814"/>
                  <a:gd name="connsiteY127" fmla="*/ 306045 h 488964"/>
                  <a:gd name="connsiteX128" fmla="*/ 209142 w 655814"/>
                  <a:gd name="connsiteY128" fmla="*/ 307781 h 488964"/>
                  <a:gd name="connsiteX129" fmla="*/ 228840 w 655814"/>
                  <a:gd name="connsiteY129" fmla="*/ 306045 h 488964"/>
                  <a:gd name="connsiteX130" fmla="*/ 247958 w 655814"/>
                  <a:gd name="connsiteY130" fmla="*/ 300260 h 488964"/>
                  <a:gd name="connsiteX131" fmla="*/ 265338 w 655814"/>
                  <a:gd name="connsiteY131" fmla="*/ 290425 h 488964"/>
                  <a:gd name="connsiteX132" fmla="*/ 279822 w 655814"/>
                  <a:gd name="connsiteY132" fmla="*/ 278854 h 488964"/>
                  <a:gd name="connsiteX133" fmla="*/ 291988 w 655814"/>
                  <a:gd name="connsiteY133" fmla="*/ 263234 h 488964"/>
                  <a:gd name="connsiteX134" fmla="*/ 301257 w 655814"/>
                  <a:gd name="connsiteY134" fmla="*/ 247035 h 488964"/>
                  <a:gd name="connsiteX135" fmla="*/ 307051 w 655814"/>
                  <a:gd name="connsiteY135" fmla="*/ 227365 h 488964"/>
                  <a:gd name="connsiteX136" fmla="*/ 309368 w 655814"/>
                  <a:gd name="connsiteY136" fmla="*/ 207694 h 488964"/>
                  <a:gd name="connsiteX137" fmla="*/ 309368 w 655814"/>
                  <a:gd name="connsiteY137" fmla="*/ 207116 h 488964"/>
                  <a:gd name="connsiteX138" fmla="*/ 309368 w 655814"/>
                  <a:gd name="connsiteY138" fmla="*/ 205959 h 488964"/>
                  <a:gd name="connsiteX139" fmla="*/ 309368 w 655814"/>
                  <a:gd name="connsiteY139" fmla="*/ 205380 h 488964"/>
                  <a:gd name="connsiteX140" fmla="*/ 305892 w 655814"/>
                  <a:gd name="connsiteY140" fmla="*/ 185131 h 488964"/>
                  <a:gd name="connsiteX141" fmla="*/ 300098 w 655814"/>
                  <a:gd name="connsiteY141" fmla="*/ 166040 h 488964"/>
                  <a:gd name="connsiteX142" fmla="*/ 289670 w 655814"/>
                  <a:gd name="connsiteY142" fmla="*/ 149841 h 488964"/>
                  <a:gd name="connsiteX143" fmla="*/ 278084 w 655814"/>
                  <a:gd name="connsiteY143" fmla="*/ 135956 h 488964"/>
                  <a:gd name="connsiteX144" fmla="*/ 263021 w 655814"/>
                  <a:gd name="connsiteY144" fmla="*/ 123807 h 488964"/>
                  <a:gd name="connsiteX145" fmla="*/ 246220 w 655814"/>
                  <a:gd name="connsiteY145" fmla="*/ 115129 h 488964"/>
                  <a:gd name="connsiteX146" fmla="*/ 228260 w 655814"/>
                  <a:gd name="connsiteY146" fmla="*/ 109922 h 488964"/>
                  <a:gd name="connsiteX147" fmla="*/ 552395 w 655814"/>
                  <a:gd name="connsiteY147" fmla="*/ 94433 h 488964"/>
                  <a:gd name="connsiteX148" fmla="*/ 543676 w 655814"/>
                  <a:gd name="connsiteY148" fmla="*/ 96171 h 488964"/>
                  <a:gd name="connsiteX149" fmla="*/ 536120 w 655814"/>
                  <a:gd name="connsiteY149" fmla="*/ 98488 h 488964"/>
                  <a:gd name="connsiteX150" fmla="*/ 528563 w 655814"/>
                  <a:gd name="connsiteY150" fmla="*/ 102543 h 488964"/>
                  <a:gd name="connsiteX151" fmla="*/ 521588 w 655814"/>
                  <a:gd name="connsiteY151" fmla="*/ 107757 h 488964"/>
                  <a:gd name="connsiteX152" fmla="*/ 516357 w 655814"/>
                  <a:gd name="connsiteY152" fmla="*/ 114710 h 488964"/>
                  <a:gd name="connsiteX153" fmla="*/ 512869 w 655814"/>
                  <a:gd name="connsiteY153" fmla="*/ 122241 h 488964"/>
                  <a:gd name="connsiteX154" fmla="*/ 510544 w 655814"/>
                  <a:gd name="connsiteY154" fmla="*/ 130931 h 488964"/>
                  <a:gd name="connsiteX155" fmla="*/ 509963 w 655814"/>
                  <a:gd name="connsiteY155" fmla="*/ 139042 h 488964"/>
                  <a:gd name="connsiteX156" fmla="*/ 511125 w 655814"/>
                  <a:gd name="connsiteY156" fmla="*/ 147732 h 488964"/>
                  <a:gd name="connsiteX157" fmla="*/ 514032 w 655814"/>
                  <a:gd name="connsiteY157" fmla="*/ 156422 h 488964"/>
                  <a:gd name="connsiteX158" fmla="*/ 518100 w 655814"/>
                  <a:gd name="connsiteY158" fmla="*/ 163953 h 488964"/>
                  <a:gd name="connsiteX159" fmla="*/ 523913 w 655814"/>
                  <a:gd name="connsiteY159" fmla="*/ 170906 h 488964"/>
                  <a:gd name="connsiteX160" fmla="*/ 529726 w 655814"/>
                  <a:gd name="connsiteY160" fmla="*/ 176120 h 488964"/>
                  <a:gd name="connsiteX161" fmla="*/ 537863 w 655814"/>
                  <a:gd name="connsiteY161" fmla="*/ 179016 h 488964"/>
                  <a:gd name="connsiteX162" fmla="*/ 546001 w 655814"/>
                  <a:gd name="connsiteY162" fmla="*/ 181913 h 488964"/>
                  <a:gd name="connsiteX163" fmla="*/ 555301 w 655814"/>
                  <a:gd name="connsiteY163" fmla="*/ 182492 h 488964"/>
                  <a:gd name="connsiteX164" fmla="*/ 563439 w 655814"/>
                  <a:gd name="connsiteY164" fmla="*/ 181913 h 488964"/>
                  <a:gd name="connsiteX165" fmla="*/ 570996 w 655814"/>
                  <a:gd name="connsiteY165" fmla="*/ 179016 h 488964"/>
                  <a:gd name="connsiteX166" fmla="*/ 577971 w 655814"/>
                  <a:gd name="connsiteY166" fmla="*/ 176120 h 488964"/>
                  <a:gd name="connsiteX167" fmla="*/ 584365 w 655814"/>
                  <a:gd name="connsiteY167" fmla="*/ 170906 h 488964"/>
                  <a:gd name="connsiteX168" fmla="*/ 589596 w 655814"/>
                  <a:gd name="connsiteY168" fmla="*/ 165112 h 488964"/>
                  <a:gd name="connsiteX169" fmla="*/ 593665 w 655814"/>
                  <a:gd name="connsiteY169" fmla="*/ 158739 h 488964"/>
                  <a:gd name="connsiteX170" fmla="*/ 597153 w 655814"/>
                  <a:gd name="connsiteY170" fmla="*/ 150629 h 488964"/>
                  <a:gd name="connsiteX171" fmla="*/ 598315 w 655814"/>
                  <a:gd name="connsiteY171" fmla="*/ 142518 h 488964"/>
                  <a:gd name="connsiteX172" fmla="*/ 598315 w 655814"/>
                  <a:gd name="connsiteY172" fmla="*/ 141359 h 488964"/>
                  <a:gd name="connsiteX173" fmla="*/ 598896 w 655814"/>
                  <a:gd name="connsiteY173" fmla="*/ 140200 h 488964"/>
                  <a:gd name="connsiteX174" fmla="*/ 598896 w 655814"/>
                  <a:gd name="connsiteY174" fmla="*/ 138462 h 488964"/>
                  <a:gd name="connsiteX175" fmla="*/ 598896 w 655814"/>
                  <a:gd name="connsiteY175" fmla="*/ 137304 h 488964"/>
                  <a:gd name="connsiteX176" fmla="*/ 597734 w 655814"/>
                  <a:gd name="connsiteY176" fmla="*/ 128614 h 488964"/>
                  <a:gd name="connsiteX177" fmla="*/ 594827 w 655814"/>
                  <a:gd name="connsiteY177" fmla="*/ 120503 h 488964"/>
                  <a:gd name="connsiteX178" fmla="*/ 590177 w 655814"/>
                  <a:gd name="connsiteY178" fmla="*/ 113551 h 488964"/>
                  <a:gd name="connsiteX179" fmla="*/ 584946 w 655814"/>
                  <a:gd name="connsiteY179" fmla="*/ 106599 h 488964"/>
                  <a:gd name="connsiteX180" fmla="*/ 577971 w 655814"/>
                  <a:gd name="connsiteY180" fmla="*/ 101385 h 488964"/>
                  <a:gd name="connsiteX181" fmla="*/ 569833 w 655814"/>
                  <a:gd name="connsiteY181" fmla="*/ 97909 h 488964"/>
                  <a:gd name="connsiteX182" fmla="*/ 562277 w 655814"/>
                  <a:gd name="connsiteY182" fmla="*/ 95591 h 488964"/>
                  <a:gd name="connsiteX183" fmla="*/ 550070 w 655814"/>
                  <a:gd name="connsiteY183" fmla="*/ 50982 h 488964"/>
                  <a:gd name="connsiteX184" fmla="*/ 583783 w 655814"/>
                  <a:gd name="connsiteY184" fmla="*/ 56196 h 488964"/>
                  <a:gd name="connsiteX185" fmla="*/ 580877 w 655814"/>
                  <a:gd name="connsiteY185" fmla="*/ 74156 h 488964"/>
                  <a:gd name="connsiteX186" fmla="*/ 585527 w 655814"/>
                  <a:gd name="connsiteY186" fmla="*/ 75894 h 488964"/>
                  <a:gd name="connsiteX187" fmla="*/ 589596 w 655814"/>
                  <a:gd name="connsiteY187" fmla="*/ 78790 h 488964"/>
                  <a:gd name="connsiteX188" fmla="*/ 594246 w 655814"/>
                  <a:gd name="connsiteY188" fmla="*/ 81108 h 488964"/>
                  <a:gd name="connsiteX189" fmla="*/ 598315 w 655814"/>
                  <a:gd name="connsiteY189" fmla="*/ 84584 h 488964"/>
                  <a:gd name="connsiteX190" fmla="*/ 613428 w 655814"/>
                  <a:gd name="connsiteY190" fmla="*/ 73576 h 488964"/>
                  <a:gd name="connsiteX191" fmla="*/ 633772 w 655814"/>
                  <a:gd name="connsiteY191" fmla="*/ 100805 h 488964"/>
                  <a:gd name="connsiteX192" fmla="*/ 618078 w 655814"/>
                  <a:gd name="connsiteY192" fmla="*/ 111813 h 488964"/>
                  <a:gd name="connsiteX193" fmla="*/ 620403 w 655814"/>
                  <a:gd name="connsiteY193" fmla="*/ 116448 h 488964"/>
                  <a:gd name="connsiteX194" fmla="*/ 621566 w 655814"/>
                  <a:gd name="connsiteY194" fmla="*/ 121082 h 488964"/>
                  <a:gd name="connsiteX195" fmla="*/ 622147 w 655814"/>
                  <a:gd name="connsiteY195" fmla="*/ 126876 h 488964"/>
                  <a:gd name="connsiteX196" fmla="*/ 623310 w 655814"/>
                  <a:gd name="connsiteY196" fmla="*/ 131510 h 488964"/>
                  <a:gd name="connsiteX197" fmla="*/ 641910 w 655814"/>
                  <a:gd name="connsiteY197" fmla="*/ 133828 h 488964"/>
                  <a:gd name="connsiteX198" fmla="*/ 640166 w 655814"/>
                  <a:gd name="connsiteY198" fmla="*/ 142518 h 488964"/>
                  <a:gd name="connsiteX199" fmla="*/ 636679 w 655814"/>
                  <a:gd name="connsiteY199" fmla="*/ 167429 h 488964"/>
                  <a:gd name="connsiteX200" fmla="*/ 617497 w 655814"/>
                  <a:gd name="connsiteY200" fmla="*/ 164533 h 488964"/>
                  <a:gd name="connsiteX201" fmla="*/ 615753 w 655814"/>
                  <a:gd name="connsiteY201" fmla="*/ 169167 h 488964"/>
                  <a:gd name="connsiteX202" fmla="*/ 612847 w 655814"/>
                  <a:gd name="connsiteY202" fmla="*/ 173223 h 488964"/>
                  <a:gd name="connsiteX203" fmla="*/ 610522 w 655814"/>
                  <a:gd name="connsiteY203" fmla="*/ 177858 h 488964"/>
                  <a:gd name="connsiteX204" fmla="*/ 607034 w 655814"/>
                  <a:gd name="connsiteY204" fmla="*/ 181913 h 488964"/>
                  <a:gd name="connsiteX205" fmla="*/ 618078 w 655814"/>
                  <a:gd name="connsiteY205" fmla="*/ 197555 h 488964"/>
                  <a:gd name="connsiteX206" fmla="*/ 590759 w 655814"/>
                  <a:gd name="connsiteY206" fmla="*/ 217253 h 488964"/>
                  <a:gd name="connsiteX207" fmla="*/ 579715 w 655814"/>
                  <a:gd name="connsiteY207" fmla="*/ 202190 h 488964"/>
                  <a:gd name="connsiteX208" fmla="*/ 575064 w 655814"/>
                  <a:gd name="connsiteY208" fmla="*/ 203349 h 488964"/>
                  <a:gd name="connsiteX209" fmla="*/ 569833 w 655814"/>
                  <a:gd name="connsiteY209" fmla="*/ 204507 h 488964"/>
                  <a:gd name="connsiteX210" fmla="*/ 564602 w 655814"/>
                  <a:gd name="connsiteY210" fmla="*/ 205666 h 488964"/>
                  <a:gd name="connsiteX211" fmla="*/ 559952 w 655814"/>
                  <a:gd name="connsiteY211" fmla="*/ 206825 h 488964"/>
                  <a:gd name="connsiteX212" fmla="*/ 556464 w 655814"/>
                  <a:gd name="connsiteY212" fmla="*/ 224784 h 488964"/>
                  <a:gd name="connsiteX213" fmla="*/ 523332 w 655814"/>
                  <a:gd name="connsiteY213" fmla="*/ 218991 h 488964"/>
                  <a:gd name="connsiteX214" fmla="*/ 526819 w 655814"/>
                  <a:gd name="connsiteY214" fmla="*/ 201031 h 488964"/>
                  <a:gd name="connsiteX215" fmla="*/ 521588 w 655814"/>
                  <a:gd name="connsiteY215" fmla="*/ 199293 h 488964"/>
                  <a:gd name="connsiteX216" fmla="*/ 516938 w 655814"/>
                  <a:gd name="connsiteY216" fmla="*/ 196396 h 488964"/>
                  <a:gd name="connsiteX217" fmla="*/ 512869 w 655814"/>
                  <a:gd name="connsiteY217" fmla="*/ 194079 h 488964"/>
                  <a:gd name="connsiteX218" fmla="*/ 509381 w 655814"/>
                  <a:gd name="connsiteY218" fmla="*/ 190603 h 488964"/>
                  <a:gd name="connsiteX219" fmla="*/ 493687 w 655814"/>
                  <a:gd name="connsiteY219" fmla="*/ 202190 h 488964"/>
                  <a:gd name="connsiteX220" fmla="*/ 473343 w 655814"/>
                  <a:gd name="connsiteY220" fmla="*/ 174382 h 488964"/>
                  <a:gd name="connsiteX221" fmla="*/ 489037 w 655814"/>
                  <a:gd name="connsiteY221" fmla="*/ 163374 h 488964"/>
                  <a:gd name="connsiteX222" fmla="*/ 487293 w 655814"/>
                  <a:gd name="connsiteY222" fmla="*/ 158160 h 488964"/>
                  <a:gd name="connsiteX223" fmla="*/ 485550 w 655814"/>
                  <a:gd name="connsiteY223" fmla="*/ 153525 h 488964"/>
                  <a:gd name="connsiteX224" fmla="*/ 484968 w 655814"/>
                  <a:gd name="connsiteY224" fmla="*/ 147732 h 488964"/>
                  <a:gd name="connsiteX225" fmla="*/ 484387 w 655814"/>
                  <a:gd name="connsiteY225" fmla="*/ 143097 h 488964"/>
                  <a:gd name="connsiteX226" fmla="*/ 466949 w 655814"/>
                  <a:gd name="connsiteY226" fmla="*/ 140780 h 488964"/>
                  <a:gd name="connsiteX227" fmla="*/ 472180 w 655814"/>
                  <a:gd name="connsiteY227" fmla="*/ 107757 h 488964"/>
                  <a:gd name="connsiteX228" fmla="*/ 489618 w 655814"/>
                  <a:gd name="connsiteY228" fmla="*/ 110654 h 488964"/>
                  <a:gd name="connsiteX229" fmla="*/ 491943 w 655814"/>
                  <a:gd name="connsiteY229" fmla="*/ 106019 h 488964"/>
                  <a:gd name="connsiteX230" fmla="*/ 493687 w 655814"/>
                  <a:gd name="connsiteY230" fmla="*/ 101964 h 488964"/>
                  <a:gd name="connsiteX231" fmla="*/ 497175 w 655814"/>
                  <a:gd name="connsiteY231" fmla="*/ 97329 h 488964"/>
                  <a:gd name="connsiteX232" fmla="*/ 499500 w 655814"/>
                  <a:gd name="connsiteY232" fmla="*/ 93274 h 488964"/>
                  <a:gd name="connsiteX233" fmla="*/ 489037 w 655814"/>
                  <a:gd name="connsiteY233" fmla="*/ 78211 h 488964"/>
                  <a:gd name="connsiteX234" fmla="*/ 516357 w 655814"/>
                  <a:gd name="connsiteY234" fmla="*/ 57934 h 488964"/>
                  <a:gd name="connsiteX235" fmla="*/ 527401 w 655814"/>
                  <a:gd name="connsiteY235" fmla="*/ 73576 h 488964"/>
                  <a:gd name="connsiteX236" fmla="*/ 529726 w 655814"/>
                  <a:gd name="connsiteY236" fmla="*/ 72418 h 488964"/>
                  <a:gd name="connsiteX237" fmla="*/ 532632 w 655814"/>
                  <a:gd name="connsiteY237" fmla="*/ 71259 h 488964"/>
                  <a:gd name="connsiteX238" fmla="*/ 534376 w 655814"/>
                  <a:gd name="connsiteY238" fmla="*/ 70680 h 488964"/>
                  <a:gd name="connsiteX239" fmla="*/ 537282 w 655814"/>
                  <a:gd name="connsiteY239" fmla="*/ 70100 h 488964"/>
                  <a:gd name="connsiteX240" fmla="*/ 540188 w 655814"/>
                  <a:gd name="connsiteY240" fmla="*/ 70100 h 488964"/>
                  <a:gd name="connsiteX241" fmla="*/ 542514 w 655814"/>
                  <a:gd name="connsiteY241" fmla="*/ 69521 h 488964"/>
                  <a:gd name="connsiteX242" fmla="*/ 544839 w 655814"/>
                  <a:gd name="connsiteY242" fmla="*/ 68942 h 488964"/>
                  <a:gd name="connsiteX243" fmla="*/ 547164 w 655814"/>
                  <a:gd name="connsiteY243" fmla="*/ 68942 h 488964"/>
                  <a:gd name="connsiteX244" fmla="*/ 167430 w 655814"/>
                  <a:gd name="connsiteY244" fmla="*/ 0 h 488964"/>
                  <a:gd name="connsiteX245" fmla="*/ 249696 w 655814"/>
                  <a:gd name="connsiteY245" fmla="*/ 0 h 488964"/>
                  <a:gd name="connsiteX246" fmla="*/ 249696 w 655814"/>
                  <a:gd name="connsiteY246" fmla="*/ 45126 h 488964"/>
                  <a:gd name="connsiteX247" fmla="*/ 256069 w 655814"/>
                  <a:gd name="connsiteY247" fmla="*/ 47440 h 488964"/>
                  <a:gd name="connsiteX248" fmla="*/ 261862 w 655814"/>
                  <a:gd name="connsiteY248" fmla="*/ 49176 h 488964"/>
                  <a:gd name="connsiteX249" fmla="*/ 267655 w 655814"/>
                  <a:gd name="connsiteY249" fmla="*/ 51490 h 488964"/>
                  <a:gd name="connsiteX250" fmla="*/ 272869 w 655814"/>
                  <a:gd name="connsiteY250" fmla="*/ 53225 h 488964"/>
                  <a:gd name="connsiteX251" fmla="*/ 279242 w 655814"/>
                  <a:gd name="connsiteY251" fmla="*/ 56118 h 488964"/>
                  <a:gd name="connsiteX252" fmla="*/ 284456 w 655814"/>
                  <a:gd name="connsiteY252" fmla="*/ 58432 h 488964"/>
                  <a:gd name="connsiteX253" fmla="*/ 289670 w 655814"/>
                  <a:gd name="connsiteY253" fmla="*/ 61325 h 488964"/>
                  <a:gd name="connsiteX254" fmla="*/ 295464 w 655814"/>
                  <a:gd name="connsiteY254" fmla="*/ 64796 h 488964"/>
                  <a:gd name="connsiteX255" fmla="*/ 326748 w 655814"/>
                  <a:gd name="connsiteY255" fmla="*/ 32977 h 488964"/>
                  <a:gd name="connsiteX256" fmla="*/ 384103 w 655814"/>
                  <a:gd name="connsiteY256" fmla="*/ 91409 h 488964"/>
                  <a:gd name="connsiteX257" fmla="*/ 353398 w 655814"/>
                  <a:gd name="connsiteY257" fmla="*/ 121493 h 488964"/>
                  <a:gd name="connsiteX258" fmla="*/ 359191 w 655814"/>
                  <a:gd name="connsiteY258" fmla="*/ 132485 h 488964"/>
                  <a:gd name="connsiteX259" fmla="*/ 363826 w 655814"/>
                  <a:gd name="connsiteY259" fmla="*/ 142898 h 488964"/>
                  <a:gd name="connsiteX260" fmla="*/ 368461 w 655814"/>
                  <a:gd name="connsiteY260" fmla="*/ 155048 h 488964"/>
                  <a:gd name="connsiteX261" fmla="*/ 371937 w 655814"/>
                  <a:gd name="connsiteY261" fmla="*/ 167197 h 488964"/>
                  <a:gd name="connsiteX262" fmla="*/ 418284 w 655814"/>
                  <a:gd name="connsiteY262" fmla="*/ 167197 h 488964"/>
                  <a:gd name="connsiteX263" fmla="*/ 418284 w 655814"/>
                  <a:gd name="connsiteY263" fmla="*/ 205380 h 488964"/>
                  <a:gd name="connsiteX264" fmla="*/ 418284 w 655814"/>
                  <a:gd name="connsiteY264" fmla="*/ 248192 h 488964"/>
                  <a:gd name="connsiteX265" fmla="*/ 371937 w 655814"/>
                  <a:gd name="connsiteY265" fmla="*/ 248192 h 488964"/>
                  <a:gd name="connsiteX266" fmla="*/ 368461 w 655814"/>
                  <a:gd name="connsiteY266" fmla="*/ 260341 h 488964"/>
                  <a:gd name="connsiteX267" fmla="*/ 363826 w 655814"/>
                  <a:gd name="connsiteY267" fmla="*/ 271333 h 488964"/>
                  <a:gd name="connsiteX268" fmla="*/ 359191 w 655814"/>
                  <a:gd name="connsiteY268" fmla="*/ 282904 h 488964"/>
                  <a:gd name="connsiteX269" fmla="*/ 353398 w 655814"/>
                  <a:gd name="connsiteY269" fmla="*/ 293318 h 488964"/>
                  <a:gd name="connsiteX270" fmla="*/ 385262 w 655814"/>
                  <a:gd name="connsiteY270" fmla="*/ 325716 h 488964"/>
                  <a:gd name="connsiteX271" fmla="*/ 327907 w 655814"/>
                  <a:gd name="connsiteY271" fmla="*/ 383569 h 488964"/>
                  <a:gd name="connsiteX272" fmla="*/ 295464 w 655814"/>
                  <a:gd name="connsiteY272" fmla="*/ 351171 h 488964"/>
                  <a:gd name="connsiteX273" fmla="*/ 289670 w 655814"/>
                  <a:gd name="connsiteY273" fmla="*/ 354642 h 488964"/>
                  <a:gd name="connsiteX274" fmla="*/ 284456 w 655814"/>
                  <a:gd name="connsiteY274" fmla="*/ 356957 h 488964"/>
                  <a:gd name="connsiteX275" fmla="*/ 279242 w 655814"/>
                  <a:gd name="connsiteY275" fmla="*/ 359849 h 488964"/>
                  <a:gd name="connsiteX276" fmla="*/ 272869 w 655814"/>
                  <a:gd name="connsiteY276" fmla="*/ 362742 h 488964"/>
                  <a:gd name="connsiteX277" fmla="*/ 267655 w 655814"/>
                  <a:gd name="connsiteY277" fmla="*/ 364477 h 488964"/>
                  <a:gd name="connsiteX278" fmla="*/ 261862 w 655814"/>
                  <a:gd name="connsiteY278" fmla="*/ 366792 h 488964"/>
                  <a:gd name="connsiteX279" fmla="*/ 256069 w 655814"/>
                  <a:gd name="connsiteY279" fmla="*/ 368527 h 488964"/>
                  <a:gd name="connsiteX280" fmla="*/ 249696 w 655814"/>
                  <a:gd name="connsiteY280" fmla="*/ 369684 h 488964"/>
                  <a:gd name="connsiteX281" fmla="*/ 249696 w 655814"/>
                  <a:gd name="connsiteY281" fmla="*/ 415967 h 488964"/>
                  <a:gd name="connsiteX282" fmla="*/ 167430 w 655814"/>
                  <a:gd name="connsiteY282" fmla="*/ 415967 h 488964"/>
                  <a:gd name="connsiteX283" fmla="*/ 167430 w 655814"/>
                  <a:gd name="connsiteY283" fmla="*/ 369684 h 488964"/>
                  <a:gd name="connsiteX284" fmla="*/ 161636 w 655814"/>
                  <a:gd name="connsiteY284" fmla="*/ 368527 h 488964"/>
                  <a:gd name="connsiteX285" fmla="*/ 155843 w 655814"/>
                  <a:gd name="connsiteY285" fmla="*/ 366792 h 488964"/>
                  <a:gd name="connsiteX286" fmla="*/ 149470 w 655814"/>
                  <a:gd name="connsiteY286" fmla="*/ 364477 h 488964"/>
                  <a:gd name="connsiteX287" fmla="*/ 144256 w 655814"/>
                  <a:gd name="connsiteY287" fmla="*/ 362742 h 488964"/>
                  <a:gd name="connsiteX288" fmla="*/ 138463 w 655814"/>
                  <a:gd name="connsiteY288" fmla="*/ 359849 h 488964"/>
                  <a:gd name="connsiteX289" fmla="*/ 132669 w 655814"/>
                  <a:gd name="connsiteY289" fmla="*/ 356957 h 488964"/>
                  <a:gd name="connsiteX290" fmla="*/ 127455 w 655814"/>
                  <a:gd name="connsiteY290" fmla="*/ 354642 h 488964"/>
                  <a:gd name="connsiteX291" fmla="*/ 122241 w 655814"/>
                  <a:gd name="connsiteY291" fmla="*/ 351171 h 488964"/>
                  <a:gd name="connsiteX292" fmla="*/ 91536 w 655814"/>
                  <a:gd name="connsiteY292" fmla="*/ 382412 h 488964"/>
                  <a:gd name="connsiteX293" fmla="*/ 34181 w 655814"/>
                  <a:gd name="connsiteY293" fmla="*/ 324559 h 488964"/>
                  <a:gd name="connsiteX294" fmla="*/ 64886 w 655814"/>
                  <a:gd name="connsiteY294" fmla="*/ 293318 h 488964"/>
                  <a:gd name="connsiteX295" fmla="*/ 58514 w 655814"/>
                  <a:gd name="connsiteY295" fmla="*/ 282904 h 488964"/>
                  <a:gd name="connsiteX296" fmla="*/ 53879 w 655814"/>
                  <a:gd name="connsiteY296" fmla="*/ 271333 h 488964"/>
                  <a:gd name="connsiteX297" fmla="*/ 49244 w 655814"/>
                  <a:gd name="connsiteY297" fmla="*/ 260341 h 488964"/>
                  <a:gd name="connsiteX298" fmla="*/ 46348 w 655814"/>
                  <a:gd name="connsiteY298" fmla="*/ 248192 h 488964"/>
                  <a:gd name="connsiteX299" fmla="*/ 0 w 655814"/>
                  <a:gd name="connsiteY299" fmla="*/ 248192 h 488964"/>
                  <a:gd name="connsiteX300" fmla="*/ 0 w 655814"/>
                  <a:gd name="connsiteY300" fmla="*/ 167197 h 488964"/>
                  <a:gd name="connsiteX301" fmla="*/ 46348 w 655814"/>
                  <a:gd name="connsiteY301" fmla="*/ 167197 h 488964"/>
                  <a:gd name="connsiteX302" fmla="*/ 49244 w 655814"/>
                  <a:gd name="connsiteY302" fmla="*/ 155048 h 488964"/>
                  <a:gd name="connsiteX303" fmla="*/ 53879 w 655814"/>
                  <a:gd name="connsiteY303" fmla="*/ 142898 h 488964"/>
                  <a:gd name="connsiteX304" fmla="*/ 58514 w 655814"/>
                  <a:gd name="connsiteY304" fmla="*/ 132485 h 488964"/>
                  <a:gd name="connsiteX305" fmla="*/ 64886 w 655814"/>
                  <a:gd name="connsiteY305" fmla="*/ 121493 h 488964"/>
                  <a:gd name="connsiteX306" fmla="*/ 35340 w 655814"/>
                  <a:gd name="connsiteY306" fmla="*/ 92566 h 488964"/>
                  <a:gd name="connsiteX307" fmla="*/ 93274 w 655814"/>
                  <a:gd name="connsiteY307" fmla="*/ 34712 h 488964"/>
                  <a:gd name="connsiteX308" fmla="*/ 122241 w 655814"/>
                  <a:gd name="connsiteY308" fmla="*/ 64796 h 488964"/>
                  <a:gd name="connsiteX309" fmla="*/ 127455 w 655814"/>
                  <a:gd name="connsiteY309" fmla="*/ 61325 h 488964"/>
                  <a:gd name="connsiteX310" fmla="*/ 132669 w 655814"/>
                  <a:gd name="connsiteY310" fmla="*/ 58432 h 488964"/>
                  <a:gd name="connsiteX311" fmla="*/ 138463 w 655814"/>
                  <a:gd name="connsiteY311" fmla="*/ 56118 h 488964"/>
                  <a:gd name="connsiteX312" fmla="*/ 144256 w 655814"/>
                  <a:gd name="connsiteY312" fmla="*/ 53225 h 488964"/>
                  <a:gd name="connsiteX313" fmla="*/ 149470 w 655814"/>
                  <a:gd name="connsiteY313" fmla="*/ 51490 h 488964"/>
                  <a:gd name="connsiteX314" fmla="*/ 155843 w 655814"/>
                  <a:gd name="connsiteY314" fmla="*/ 49176 h 488964"/>
                  <a:gd name="connsiteX315" fmla="*/ 161636 w 655814"/>
                  <a:gd name="connsiteY315" fmla="*/ 47440 h 488964"/>
                  <a:gd name="connsiteX316" fmla="*/ 167430 w 655814"/>
                  <a:gd name="connsiteY316" fmla="*/ 45126 h 48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</a:cxnLst>
                <a:rect l="l" t="t" r="r" b="b"/>
                <a:pathLst>
                  <a:path w="655814" h="488964">
                    <a:moveTo>
                      <a:pt x="520248" y="327907"/>
                    </a:moveTo>
                    <a:lnTo>
                      <a:pt x="514455" y="328486"/>
                    </a:lnTo>
                    <a:lnTo>
                      <a:pt x="508661" y="329645"/>
                    </a:lnTo>
                    <a:lnTo>
                      <a:pt x="504026" y="333121"/>
                    </a:lnTo>
                    <a:lnTo>
                      <a:pt x="499971" y="336597"/>
                    </a:lnTo>
                    <a:lnTo>
                      <a:pt x="495916" y="340653"/>
                    </a:lnTo>
                    <a:lnTo>
                      <a:pt x="493598" y="345867"/>
                    </a:lnTo>
                    <a:lnTo>
                      <a:pt x="492440" y="351081"/>
                    </a:lnTo>
                    <a:lnTo>
                      <a:pt x="491281" y="356295"/>
                    </a:lnTo>
                    <a:lnTo>
                      <a:pt x="492440" y="362668"/>
                    </a:lnTo>
                    <a:lnTo>
                      <a:pt x="493598" y="367882"/>
                    </a:lnTo>
                    <a:lnTo>
                      <a:pt x="495916" y="372516"/>
                    </a:lnTo>
                    <a:lnTo>
                      <a:pt x="499971" y="376572"/>
                    </a:lnTo>
                    <a:lnTo>
                      <a:pt x="504026" y="380627"/>
                    </a:lnTo>
                    <a:lnTo>
                      <a:pt x="508661" y="382945"/>
                    </a:lnTo>
                    <a:lnTo>
                      <a:pt x="514455" y="384103"/>
                    </a:lnTo>
                    <a:lnTo>
                      <a:pt x="520248" y="385262"/>
                    </a:lnTo>
                    <a:lnTo>
                      <a:pt x="524883" y="384103"/>
                    </a:lnTo>
                    <a:lnTo>
                      <a:pt x="529517" y="383524"/>
                    </a:lnTo>
                    <a:lnTo>
                      <a:pt x="533573" y="381786"/>
                    </a:lnTo>
                    <a:lnTo>
                      <a:pt x="537628" y="378889"/>
                    </a:lnTo>
                    <a:lnTo>
                      <a:pt x="541104" y="375992"/>
                    </a:lnTo>
                    <a:lnTo>
                      <a:pt x="543422" y="372516"/>
                    </a:lnTo>
                    <a:lnTo>
                      <a:pt x="546318" y="368461"/>
                    </a:lnTo>
                    <a:lnTo>
                      <a:pt x="547477" y="363826"/>
                    </a:lnTo>
                    <a:lnTo>
                      <a:pt x="547477" y="362668"/>
                    </a:lnTo>
                    <a:lnTo>
                      <a:pt x="548056" y="360350"/>
                    </a:lnTo>
                    <a:lnTo>
                      <a:pt x="549215" y="357454"/>
                    </a:lnTo>
                    <a:lnTo>
                      <a:pt x="549215" y="356295"/>
                    </a:lnTo>
                    <a:lnTo>
                      <a:pt x="548056" y="351081"/>
                    </a:lnTo>
                    <a:lnTo>
                      <a:pt x="546898" y="345867"/>
                    </a:lnTo>
                    <a:lnTo>
                      <a:pt x="544001" y="340653"/>
                    </a:lnTo>
                    <a:lnTo>
                      <a:pt x="541104" y="336597"/>
                    </a:lnTo>
                    <a:lnTo>
                      <a:pt x="536470" y="333121"/>
                    </a:lnTo>
                    <a:lnTo>
                      <a:pt x="531835" y="329645"/>
                    </a:lnTo>
                    <a:lnTo>
                      <a:pt x="526041" y="328486"/>
                    </a:lnTo>
                    <a:close/>
                    <a:moveTo>
                      <a:pt x="512137" y="221308"/>
                    </a:moveTo>
                    <a:lnTo>
                      <a:pt x="520248" y="249117"/>
                    </a:lnTo>
                    <a:lnTo>
                      <a:pt x="524303" y="249117"/>
                    </a:lnTo>
                    <a:lnTo>
                      <a:pt x="527779" y="249117"/>
                    </a:lnTo>
                    <a:lnTo>
                      <a:pt x="531835" y="249696"/>
                    </a:lnTo>
                    <a:lnTo>
                      <a:pt x="535890" y="249696"/>
                    </a:lnTo>
                    <a:lnTo>
                      <a:pt x="539366" y="250275"/>
                    </a:lnTo>
                    <a:lnTo>
                      <a:pt x="543422" y="250855"/>
                    </a:lnTo>
                    <a:lnTo>
                      <a:pt x="546898" y="252593"/>
                    </a:lnTo>
                    <a:lnTo>
                      <a:pt x="550953" y="253172"/>
                    </a:lnTo>
                    <a:lnTo>
                      <a:pt x="564278" y="229419"/>
                    </a:lnTo>
                    <a:lnTo>
                      <a:pt x="608887" y="254331"/>
                    </a:lnTo>
                    <a:lnTo>
                      <a:pt x="595562" y="278663"/>
                    </a:lnTo>
                    <a:lnTo>
                      <a:pt x="600777" y="283877"/>
                    </a:lnTo>
                    <a:lnTo>
                      <a:pt x="605991" y="289670"/>
                    </a:lnTo>
                    <a:lnTo>
                      <a:pt x="610625" y="296623"/>
                    </a:lnTo>
                    <a:lnTo>
                      <a:pt x="614681" y="302995"/>
                    </a:lnTo>
                    <a:lnTo>
                      <a:pt x="642489" y="296043"/>
                    </a:lnTo>
                    <a:lnTo>
                      <a:pt x="655814" y="345287"/>
                    </a:lnTo>
                    <a:lnTo>
                      <a:pt x="628585" y="352819"/>
                    </a:lnTo>
                    <a:lnTo>
                      <a:pt x="628585" y="355136"/>
                    </a:lnTo>
                    <a:lnTo>
                      <a:pt x="628585" y="358612"/>
                    </a:lnTo>
                    <a:lnTo>
                      <a:pt x="628006" y="361509"/>
                    </a:lnTo>
                    <a:lnTo>
                      <a:pt x="628006" y="363826"/>
                    </a:lnTo>
                    <a:lnTo>
                      <a:pt x="626847" y="368461"/>
                    </a:lnTo>
                    <a:lnTo>
                      <a:pt x="626268" y="373675"/>
                    </a:lnTo>
                    <a:lnTo>
                      <a:pt x="625109" y="378310"/>
                    </a:lnTo>
                    <a:lnTo>
                      <a:pt x="624530" y="383524"/>
                    </a:lnTo>
                    <a:lnTo>
                      <a:pt x="648862" y="397428"/>
                    </a:lnTo>
                    <a:lnTo>
                      <a:pt x="623950" y="442617"/>
                    </a:lnTo>
                    <a:lnTo>
                      <a:pt x="598459" y="428133"/>
                    </a:lnTo>
                    <a:lnTo>
                      <a:pt x="595562" y="431030"/>
                    </a:lnTo>
                    <a:lnTo>
                      <a:pt x="593245" y="433927"/>
                    </a:lnTo>
                    <a:lnTo>
                      <a:pt x="590348" y="436244"/>
                    </a:lnTo>
                    <a:lnTo>
                      <a:pt x="586872" y="438561"/>
                    </a:lnTo>
                    <a:lnTo>
                      <a:pt x="583976" y="440879"/>
                    </a:lnTo>
                    <a:lnTo>
                      <a:pt x="581079" y="443196"/>
                    </a:lnTo>
                    <a:lnTo>
                      <a:pt x="577603" y="444934"/>
                    </a:lnTo>
                    <a:lnTo>
                      <a:pt x="574127" y="447252"/>
                    </a:lnTo>
                    <a:lnTo>
                      <a:pt x="581658" y="475060"/>
                    </a:lnTo>
                    <a:lnTo>
                      <a:pt x="532414" y="488964"/>
                    </a:lnTo>
                    <a:lnTo>
                      <a:pt x="524303" y="461156"/>
                    </a:lnTo>
                    <a:lnTo>
                      <a:pt x="520248" y="461156"/>
                    </a:lnTo>
                    <a:lnTo>
                      <a:pt x="516193" y="461156"/>
                    </a:lnTo>
                    <a:lnTo>
                      <a:pt x="512137" y="460576"/>
                    </a:lnTo>
                    <a:lnTo>
                      <a:pt x="508661" y="459418"/>
                    </a:lnTo>
                    <a:lnTo>
                      <a:pt x="504606" y="459418"/>
                    </a:lnTo>
                    <a:lnTo>
                      <a:pt x="501130" y="458838"/>
                    </a:lnTo>
                    <a:lnTo>
                      <a:pt x="497654" y="457680"/>
                    </a:lnTo>
                    <a:lnTo>
                      <a:pt x="493598" y="457100"/>
                    </a:lnTo>
                    <a:lnTo>
                      <a:pt x="479694" y="480853"/>
                    </a:lnTo>
                    <a:lnTo>
                      <a:pt x="434505" y="455942"/>
                    </a:lnTo>
                    <a:lnTo>
                      <a:pt x="448989" y="431030"/>
                    </a:lnTo>
                    <a:lnTo>
                      <a:pt x="443195" y="425816"/>
                    </a:lnTo>
                    <a:lnTo>
                      <a:pt x="437981" y="419443"/>
                    </a:lnTo>
                    <a:lnTo>
                      <a:pt x="433347" y="413650"/>
                    </a:lnTo>
                    <a:lnTo>
                      <a:pt x="429291" y="407277"/>
                    </a:lnTo>
                    <a:lnTo>
                      <a:pt x="402062" y="414229"/>
                    </a:lnTo>
                    <a:lnTo>
                      <a:pt x="388158" y="364985"/>
                    </a:lnTo>
                    <a:lnTo>
                      <a:pt x="415966" y="356874"/>
                    </a:lnTo>
                    <a:lnTo>
                      <a:pt x="415966" y="349343"/>
                    </a:lnTo>
                    <a:lnTo>
                      <a:pt x="417125" y="341811"/>
                    </a:lnTo>
                    <a:lnTo>
                      <a:pt x="418284" y="333700"/>
                    </a:lnTo>
                    <a:lnTo>
                      <a:pt x="420022" y="326169"/>
                    </a:lnTo>
                    <a:lnTo>
                      <a:pt x="397427" y="314003"/>
                    </a:lnTo>
                    <a:lnTo>
                      <a:pt x="422919" y="268235"/>
                    </a:lnTo>
                    <a:lnTo>
                      <a:pt x="445513" y="281560"/>
                    </a:lnTo>
                    <a:lnTo>
                      <a:pt x="447830" y="279242"/>
                    </a:lnTo>
                    <a:lnTo>
                      <a:pt x="450727" y="276346"/>
                    </a:lnTo>
                    <a:lnTo>
                      <a:pt x="454203" y="274028"/>
                    </a:lnTo>
                    <a:lnTo>
                      <a:pt x="456520" y="271132"/>
                    </a:lnTo>
                    <a:lnTo>
                      <a:pt x="459996" y="269394"/>
                    </a:lnTo>
                    <a:lnTo>
                      <a:pt x="463472" y="267076"/>
                    </a:lnTo>
                    <a:lnTo>
                      <a:pt x="466949" y="265338"/>
                    </a:lnTo>
                    <a:lnTo>
                      <a:pt x="470425" y="263021"/>
                    </a:lnTo>
                    <a:lnTo>
                      <a:pt x="462314" y="235212"/>
                    </a:lnTo>
                    <a:close/>
                    <a:moveTo>
                      <a:pt x="209142" y="107608"/>
                    </a:moveTo>
                    <a:lnTo>
                      <a:pt x="188286" y="109922"/>
                    </a:lnTo>
                    <a:lnTo>
                      <a:pt x="169747" y="115707"/>
                    </a:lnTo>
                    <a:lnTo>
                      <a:pt x="152367" y="124964"/>
                    </a:lnTo>
                    <a:lnTo>
                      <a:pt x="137304" y="137113"/>
                    </a:lnTo>
                    <a:lnTo>
                      <a:pt x="125717" y="151576"/>
                    </a:lnTo>
                    <a:lnTo>
                      <a:pt x="116448" y="168932"/>
                    </a:lnTo>
                    <a:lnTo>
                      <a:pt x="110075" y="187446"/>
                    </a:lnTo>
                    <a:lnTo>
                      <a:pt x="108337" y="207694"/>
                    </a:lnTo>
                    <a:lnTo>
                      <a:pt x="110075" y="227365"/>
                    </a:lnTo>
                    <a:lnTo>
                      <a:pt x="116448" y="247035"/>
                    </a:lnTo>
                    <a:lnTo>
                      <a:pt x="125717" y="263234"/>
                    </a:lnTo>
                    <a:lnTo>
                      <a:pt x="137304" y="278854"/>
                    </a:lnTo>
                    <a:lnTo>
                      <a:pt x="152367" y="290425"/>
                    </a:lnTo>
                    <a:lnTo>
                      <a:pt x="169747" y="300260"/>
                    </a:lnTo>
                    <a:lnTo>
                      <a:pt x="188286" y="306045"/>
                    </a:lnTo>
                    <a:lnTo>
                      <a:pt x="209142" y="307781"/>
                    </a:lnTo>
                    <a:lnTo>
                      <a:pt x="228840" y="306045"/>
                    </a:lnTo>
                    <a:lnTo>
                      <a:pt x="247958" y="300260"/>
                    </a:lnTo>
                    <a:lnTo>
                      <a:pt x="265338" y="290425"/>
                    </a:lnTo>
                    <a:lnTo>
                      <a:pt x="279822" y="278854"/>
                    </a:lnTo>
                    <a:lnTo>
                      <a:pt x="291988" y="263234"/>
                    </a:lnTo>
                    <a:lnTo>
                      <a:pt x="301257" y="247035"/>
                    </a:lnTo>
                    <a:lnTo>
                      <a:pt x="307051" y="227365"/>
                    </a:lnTo>
                    <a:lnTo>
                      <a:pt x="309368" y="207694"/>
                    </a:lnTo>
                    <a:lnTo>
                      <a:pt x="309368" y="207116"/>
                    </a:lnTo>
                    <a:lnTo>
                      <a:pt x="309368" y="205959"/>
                    </a:lnTo>
                    <a:lnTo>
                      <a:pt x="309368" y="205380"/>
                    </a:lnTo>
                    <a:lnTo>
                      <a:pt x="305892" y="185131"/>
                    </a:lnTo>
                    <a:lnTo>
                      <a:pt x="300098" y="166040"/>
                    </a:lnTo>
                    <a:lnTo>
                      <a:pt x="289670" y="149841"/>
                    </a:lnTo>
                    <a:lnTo>
                      <a:pt x="278084" y="135956"/>
                    </a:lnTo>
                    <a:lnTo>
                      <a:pt x="263021" y="123807"/>
                    </a:lnTo>
                    <a:lnTo>
                      <a:pt x="246220" y="115129"/>
                    </a:lnTo>
                    <a:lnTo>
                      <a:pt x="228260" y="109922"/>
                    </a:lnTo>
                    <a:close/>
                    <a:moveTo>
                      <a:pt x="552395" y="94433"/>
                    </a:moveTo>
                    <a:lnTo>
                      <a:pt x="543676" y="96171"/>
                    </a:lnTo>
                    <a:lnTo>
                      <a:pt x="536120" y="98488"/>
                    </a:lnTo>
                    <a:lnTo>
                      <a:pt x="528563" y="102543"/>
                    </a:lnTo>
                    <a:lnTo>
                      <a:pt x="521588" y="107757"/>
                    </a:lnTo>
                    <a:lnTo>
                      <a:pt x="516357" y="114710"/>
                    </a:lnTo>
                    <a:lnTo>
                      <a:pt x="512869" y="122241"/>
                    </a:lnTo>
                    <a:lnTo>
                      <a:pt x="510544" y="130931"/>
                    </a:lnTo>
                    <a:lnTo>
                      <a:pt x="509963" y="139042"/>
                    </a:lnTo>
                    <a:lnTo>
                      <a:pt x="511125" y="147732"/>
                    </a:lnTo>
                    <a:lnTo>
                      <a:pt x="514032" y="156422"/>
                    </a:lnTo>
                    <a:lnTo>
                      <a:pt x="518100" y="163953"/>
                    </a:lnTo>
                    <a:lnTo>
                      <a:pt x="523913" y="170906"/>
                    </a:lnTo>
                    <a:lnTo>
                      <a:pt x="529726" y="176120"/>
                    </a:lnTo>
                    <a:lnTo>
                      <a:pt x="537863" y="179016"/>
                    </a:lnTo>
                    <a:lnTo>
                      <a:pt x="546001" y="181913"/>
                    </a:lnTo>
                    <a:lnTo>
                      <a:pt x="555301" y="182492"/>
                    </a:lnTo>
                    <a:lnTo>
                      <a:pt x="563439" y="181913"/>
                    </a:lnTo>
                    <a:lnTo>
                      <a:pt x="570996" y="179016"/>
                    </a:lnTo>
                    <a:lnTo>
                      <a:pt x="577971" y="176120"/>
                    </a:lnTo>
                    <a:lnTo>
                      <a:pt x="584365" y="170906"/>
                    </a:lnTo>
                    <a:lnTo>
                      <a:pt x="589596" y="165112"/>
                    </a:lnTo>
                    <a:lnTo>
                      <a:pt x="593665" y="158739"/>
                    </a:lnTo>
                    <a:lnTo>
                      <a:pt x="597153" y="150629"/>
                    </a:lnTo>
                    <a:lnTo>
                      <a:pt x="598315" y="142518"/>
                    </a:lnTo>
                    <a:lnTo>
                      <a:pt x="598315" y="141359"/>
                    </a:lnTo>
                    <a:lnTo>
                      <a:pt x="598896" y="140200"/>
                    </a:lnTo>
                    <a:lnTo>
                      <a:pt x="598896" y="138462"/>
                    </a:lnTo>
                    <a:lnTo>
                      <a:pt x="598896" y="137304"/>
                    </a:lnTo>
                    <a:lnTo>
                      <a:pt x="597734" y="128614"/>
                    </a:lnTo>
                    <a:lnTo>
                      <a:pt x="594827" y="120503"/>
                    </a:lnTo>
                    <a:lnTo>
                      <a:pt x="590177" y="113551"/>
                    </a:lnTo>
                    <a:lnTo>
                      <a:pt x="584946" y="106599"/>
                    </a:lnTo>
                    <a:lnTo>
                      <a:pt x="577971" y="101385"/>
                    </a:lnTo>
                    <a:lnTo>
                      <a:pt x="569833" y="97909"/>
                    </a:lnTo>
                    <a:lnTo>
                      <a:pt x="562277" y="95591"/>
                    </a:lnTo>
                    <a:close/>
                    <a:moveTo>
                      <a:pt x="550070" y="50982"/>
                    </a:moveTo>
                    <a:lnTo>
                      <a:pt x="583783" y="56196"/>
                    </a:lnTo>
                    <a:lnTo>
                      <a:pt x="580877" y="74156"/>
                    </a:lnTo>
                    <a:lnTo>
                      <a:pt x="585527" y="75894"/>
                    </a:lnTo>
                    <a:lnTo>
                      <a:pt x="589596" y="78790"/>
                    </a:lnTo>
                    <a:lnTo>
                      <a:pt x="594246" y="81108"/>
                    </a:lnTo>
                    <a:lnTo>
                      <a:pt x="598315" y="84584"/>
                    </a:lnTo>
                    <a:lnTo>
                      <a:pt x="613428" y="73576"/>
                    </a:lnTo>
                    <a:lnTo>
                      <a:pt x="633772" y="100805"/>
                    </a:lnTo>
                    <a:lnTo>
                      <a:pt x="618078" y="111813"/>
                    </a:lnTo>
                    <a:lnTo>
                      <a:pt x="620403" y="116448"/>
                    </a:lnTo>
                    <a:lnTo>
                      <a:pt x="621566" y="121082"/>
                    </a:lnTo>
                    <a:lnTo>
                      <a:pt x="622147" y="126876"/>
                    </a:lnTo>
                    <a:lnTo>
                      <a:pt x="623310" y="131510"/>
                    </a:lnTo>
                    <a:lnTo>
                      <a:pt x="641910" y="133828"/>
                    </a:lnTo>
                    <a:lnTo>
                      <a:pt x="640166" y="142518"/>
                    </a:lnTo>
                    <a:lnTo>
                      <a:pt x="636679" y="167429"/>
                    </a:lnTo>
                    <a:lnTo>
                      <a:pt x="617497" y="164533"/>
                    </a:lnTo>
                    <a:lnTo>
                      <a:pt x="615753" y="169167"/>
                    </a:lnTo>
                    <a:lnTo>
                      <a:pt x="612847" y="173223"/>
                    </a:lnTo>
                    <a:lnTo>
                      <a:pt x="610522" y="177858"/>
                    </a:lnTo>
                    <a:lnTo>
                      <a:pt x="607034" y="181913"/>
                    </a:lnTo>
                    <a:lnTo>
                      <a:pt x="618078" y="197555"/>
                    </a:lnTo>
                    <a:lnTo>
                      <a:pt x="590759" y="217253"/>
                    </a:lnTo>
                    <a:lnTo>
                      <a:pt x="579715" y="202190"/>
                    </a:lnTo>
                    <a:lnTo>
                      <a:pt x="575064" y="203349"/>
                    </a:lnTo>
                    <a:lnTo>
                      <a:pt x="569833" y="204507"/>
                    </a:lnTo>
                    <a:lnTo>
                      <a:pt x="564602" y="205666"/>
                    </a:lnTo>
                    <a:lnTo>
                      <a:pt x="559952" y="206825"/>
                    </a:lnTo>
                    <a:lnTo>
                      <a:pt x="556464" y="224784"/>
                    </a:lnTo>
                    <a:lnTo>
                      <a:pt x="523332" y="218991"/>
                    </a:lnTo>
                    <a:lnTo>
                      <a:pt x="526819" y="201031"/>
                    </a:lnTo>
                    <a:lnTo>
                      <a:pt x="521588" y="199293"/>
                    </a:lnTo>
                    <a:lnTo>
                      <a:pt x="516938" y="196396"/>
                    </a:lnTo>
                    <a:lnTo>
                      <a:pt x="512869" y="194079"/>
                    </a:lnTo>
                    <a:lnTo>
                      <a:pt x="509381" y="190603"/>
                    </a:lnTo>
                    <a:lnTo>
                      <a:pt x="493687" y="202190"/>
                    </a:lnTo>
                    <a:lnTo>
                      <a:pt x="473343" y="174382"/>
                    </a:lnTo>
                    <a:lnTo>
                      <a:pt x="489037" y="163374"/>
                    </a:lnTo>
                    <a:lnTo>
                      <a:pt x="487293" y="158160"/>
                    </a:lnTo>
                    <a:lnTo>
                      <a:pt x="485550" y="153525"/>
                    </a:lnTo>
                    <a:lnTo>
                      <a:pt x="484968" y="147732"/>
                    </a:lnTo>
                    <a:lnTo>
                      <a:pt x="484387" y="143097"/>
                    </a:lnTo>
                    <a:lnTo>
                      <a:pt x="466949" y="140780"/>
                    </a:lnTo>
                    <a:lnTo>
                      <a:pt x="472180" y="107757"/>
                    </a:lnTo>
                    <a:lnTo>
                      <a:pt x="489618" y="110654"/>
                    </a:lnTo>
                    <a:lnTo>
                      <a:pt x="491943" y="106019"/>
                    </a:lnTo>
                    <a:lnTo>
                      <a:pt x="493687" y="101964"/>
                    </a:lnTo>
                    <a:lnTo>
                      <a:pt x="497175" y="97329"/>
                    </a:lnTo>
                    <a:lnTo>
                      <a:pt x="499500" y="93274"/>
                    </a:lnTo>
                    <a:lnTo>
                      <a:pt x="489037" y="78211"/>
                    </a:lnTo>
                    <a:lnTo>
                      <a:pt x="516357" y="57934"/>
                    </a:lnTo>
                    <a:lnTo>
                      <a:pt x="527401" y="73576"/>
                    </a:lnTo>
                    <a:lnTo>
                      <a:pt x="529726" y="72418"/>
                    </a:lnTo>
                    <a:lnTo>
                      <a:pt x="532632" y="71259"/>
                    </a:lnTo>
                    <a:lnTo>
                      <a:pt x="534376" y="70680"/>
                    </a:lnTo>
                    <a:lnTo>
                      <a:pt x="537282" y="70100"/>
                    </a:lnTo>
                    <a:lnTo>
                      <a:pt x="540188" y="70100"/>
                    </a:lnTo>
                    <a:lnTo>
                      <a:pt x="542514" y="69521"/>
                    </a:lnTo>
                    <a:lnTo>
                      <a:pt x="544839" y="68942"/>
                    </a:lnTo>
                    <a:lnTo>
                      <a:pt x="547164" y="68942"/>
                    </a:lnTo>
                    <a:close/>
                    <a:moveTo>
                      <a:pt x="167430" y="0"/>
                    </a:moveTo>
                    <a:lnTo>
                      <a:pt x="249696" y="0"/>
                    </a:lnTo>
                    <a:lnTo>
                      <a:pt x="249696" y="45126"/>
                    </a:lnTo>
                    <a:lnTo>
                      <a:pt x="256069" y="47440"/>
                    </a:lnTo>
                    <a:lnTo>
                      <a:pt x="261862" y="49176"/>
                    </a:lnTo>
                    <a:lnTo>
                      <a:pt x="267655" y="51490"/>
                    </a:lnTo>
                    <a:lnTo>
                      <a:pt x="272869" y="53225"/>
                    </a:lnTo>
                    <a:lnTo>
                      <a:pt x="279242" y="56118"/>
                    </a:lnTo>
                    <a:lnTo>
                      <a:pt x="284456" y="58432"/>
                    </a:lnTo>
                    <a:lnTo>
                      <a:pt x="289670" y="61325"/>
                    </a:lnTo>
                    <a:lnTo>
                      <a:pt x="295464" y="64796"/>
                    </a:lnTo>
                    <a:lnTo>
                      <a:pt x="326748" y="32977"/>
                    </a:lnTo>
                    <a:lnTo>
                      <a:pt x="384103" y="91409"/>
                    </a:lnTo>
                    <a:lnTo>
                      <a:pt x="353398" y="121493"/>
                    </a:lnTo>
                    <a:lnTo>
                      <a:pt x="359191" y="132485"/>
                    </a:lnTo>
                    <a:lnTo>
                      <a:pt x="363826" y="142898"/>
                    </a:lnTo>
                    <a:lnTo>
                      <a:pt x="368461" y="155048"/>
                    </a:lnTo>
                    <a:lnTo>
                      <a:pt x="371937" y="167197"/>
                    </a:lnTo>
                    <a:lnTo>
                      <a:pt x="418284" y="167197"/>
                    </a:lnTo>
                    <a:lnTo>
                      <a:pt x="418284" y="205380"/>
                    </a:lnTo>
                    <a:lnTo>
                      <a:pt x="418284" y="248192"/>
                    </a:lnTo>
                    <a:lnTo>
                      <a:pt x="371937" y="248192"/>
                    </a:lnTo>
                    <a:lnTo>
                      <a:pt x="368461" y="260341"/>
                    </a:lnTo>
                    <a:lnTo>
                      <a:pt x="363826" y="271333"/>
                    </a:lnTo>
                    <a:lnTo>
                      <a:pt x="359191" y="282904"/>
                    </a:lnTo>
                    <a:lnTo>
                      <a:pt x="353398" y="293318"/>
                    </a:lnTo>
                    <a:lnTo>
                      <a:pt x="385262" y="325716"/>
                    </a:lnTo>
                    <a:lnTo>
                      <a:pt x="327907" y="383569"/>
                    </a:lnTo>
                    <a:lnTo>
                      <a:pt x="295464" y="351171"/>
                    </a:lnTo>
                    <a:lnTo>
                      <a:pt x="289670" y="354642"/>
                    </a:lnTo>
                    <a:lnTo>
                      <a:pt x="284456" y="356957"/>
                    </a:lnTo>
                    <a:lnTo>
                      <a:pt x="279242" y="359849"/>
                    </a:lnTo>
                    <a:lnTo>
                      <a:pt x="272869" y="362742"/>
                    </a:lnTo>
                    <a:lnTo>
                      <a:pt x="267655" y="364477"/>
                    </a:lnTo>
                    <a:lnTo>
                      <a:pt x="261862" y="366792"/>
                    </a:lnTo>
                    <a:lnTo>
                      <a:pt x="256069" y="368527"/>
                    </a:lnTo>
                    <a:lnTo>
                      <a:pt x="249696" y="369684"/>
                    </a:lnTo>
                    <a:lnTo>
                      <a:pt x="249696" y="415967"/>
                    </a:lnTo>
                    <a:lnTo>
                      <a:pt x="167430" y="415967"/>
                    </a:lnTo>
                    <a:lnTo>
                      <a:pt x="167430" y="369684"/>
                    </a:lnTo>
                    <a:lnTo>
                      <a:pt x="161636" y="368527"/>
                    </a:lnTo>
                    <a:lnTo>
                      <a:pt x="155843" y="366792"/>
                    </a:lnTo>
                    <a:lnTo>
                      <a:pt x="149470" y="364477"/>
                    </a:lnTo>
                    <a:lnTo>
                      <a:pt x="144256" y="362742"/>
                    </a:lnTo>
                    <a:lnTo>
                      <a:pt x="138463" y="359849"/>
                    </a:lnTo>
                    <a:lnTo>
                      <a:pt x="132669" y="356957"/>
                    </a:lnTo>
                    <a:lnTo>
                      <a:pt x="127455" y="354642"/>
                    </a:lnTo>
                    <a:lnTo>
                      <a:pt x="122241" y="351171"/>
                    </a:lnTo>
                    <a:lnTo>
                      <a:pt x="91536" y="382412"/>
                    </a:lnTo>
                    <a:lnTo>
                      <a:pt x="34181" y="324559"/>
                    </a:lnTo>
                    <a:lnTo>
                      <a:pt x="64886" y="293318"/>
                    </a:lnTo>
                    <a:lnTo>
                      <a:pt x="58514" y="282904"/>
                    </a:lnTo>
                    <a:lnTo>
                      <a:pt x="53879" y="271333"/>
                    </a:lnTo>
                    <a:lnTo>
                      <a:pt x="49244" y="260341"/>
                    </a:lnTo>
                    <a:lnTo>
                      <a:pt x="46348" y="248192"/>
                    </a:lnTo>
                    <a:lnTo>
                      <a:pt x="0" y="248192"/>
                    </a:lnTo>
                    <a:lnTo>
                      <a:pt x="0" y="167197"/>
                    </a:lnTo>
                    <a:lnTo>
                      <a:pt x="46348" y="167197"/>
                    </a:lnTo>
                    <a:lnTo>
                      <a:pt x="49244" y="155048"/>
                    </a:lnTo>
                    <a:lnTo>
                      <a:pt x="53879" y="142898"/>
                    </a:lnTo>
                    <a:lnTo>
                      <a:pt x="58514" y="132485"/>
                    </a:lnTo>
                    <a:lnTo>
                      <a:pt x="64886" y="121493"/>
                    </a:lnTo>
                    <a:lnTo>
                      <a:pt x="35340" y="92566"/>
                    </a:lnTo>
                    <a:lnTo>
                      <a:pt x="93274" y="34712"/>
                    </a:lnTo>
                    <a:lnTo>
                      <a:pt x="122241" y="64796"/>
                    </a:lnTo>
                    <a:lnTo>
                      <a:pt x="127455" y="61325"/>
                    </a:lnTo>
                    <a:lnTo>
                      <a:pt x="132669" y="58432"/>
                    </a:lnTo>
                    <a:lnTo>
                      <a:pt x="138463" y="56118"/>
                    </a:lnTo>
                    <a:lnTo>
                      <a:pt x="144256" y="53225"/>
                    </a:lnTo>
                    <a:lnTo>
                      <a:pt x="149470" y="51490"/>
                    </a:lnTo>
                    <a:lnTo>
                      <a:pt x="155843" y="49176"/>
                    </a:lnTo>
                    <a:lnTo>
                      <a:pt x="161636" y="47440"/>
                    </a:lnTo>
                    <a:lnTo>
                      <a:pt x="167430" y="4512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276" name="Group 275"/>
            <p:cNvGrpSpPr/>
            <p:nvPr/>
          </p:nvGrpSpPr>
          <p:grpSpPr>
            <a:xfrm>
              <a:off x="9734783" y="2094962"/>
              <a:ext cx="770332" cy="770332"/>
              <a:chOff x="9123452" y="2463609"/>
              <a:chExt cx="652035" cy="652035"/>
            </a:xfrm>
          </p:grpSpPr>
          <p:sp>
            <p:nvSpPr>
              <p:cNvPr id="311" name="Oval 310"/>
              <p:cNvSpPr/>
              <p:nvPr/>
            </p:nvSpPr>
            <p:spPr bwMode="auto">
              <a:xfrm rot="662724">
                <a:off x="9123452" y="2463609"/>
                <a:ext cx="652035" cy="652035"/>
              </a:xfrm>
              <a:prstGeom prst="ellipse">
                <a:avLst/>
              </a:prstGeom>
              <a:solidFill>
                <a:srgbClr val="FFB900"/>
              </a:solidFill>
              <a:ln w="47625" cap="flat" cmpd="sng" algn="ctr">
                <a:solidFill>
                  <a:srgbClr val="FFFFFF">
                    <a:lumMod val="20000"/>
                    <a:lumOff val="8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46637" rIns="0" bIns="46637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61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5417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2" name="Freeform 311"/>
              <p:cNvSpPr>
                <a:spLocks/>
              </p:cNvSpPr>
              <p:nvPr/>
            </p:nvSpPr>
            <p:spPr bwMode="auto">
              <a:xfrm>
                <a:off x="9232427" y="2627803"/>
                <a:ext cx="434085" cy="323647"/>
              </a:xfrm>
              <a:custGeom>
                <a:avLst/>
                <a:gdLst>
                  <a:gd name="connsiteX0" fmla="*/ 520248 w 655814"/>
                  <a:gd name="connsiteY0" fmla="*/ 327907 h 488964"/>
                  <a:gd name="connsiteX1" fmla="*/ 514455 w 655814"/>
                  <a:gd name="connsiteY1" fmla="*/ 328486 h 488964"/>
                  <a:gd name="connsiteX2" fmla="*/ 508661 w 655814"/>
                  <a:gd name="connsiteY2" fmla="*/ 329645 h 488964"/>
                  <a:gd name="connsiteX3" fmla="*/ 504026 w 655814"/>
                  <a:gd name="connsiteY3" fmla="*/ 333121 h 488964"/>
                  <a:gd name="connsiteX4" fmla="*/ 499971 w 655814"/>
                  <a:gd name="connsiteY4" fmla="*/ 336597 h 488964"/>
                  <a:gd name="connsiteX5" fmla="*/ 495916 w 655814"/>
                  <a:gd name="connsiteY5" fmla="*/ 340653 h 488964"/>
                  <a:gd name="connsiteX6" fmla="*/ 493598 w 655814"/>
                  <a:gd name="connsiteY6" fmla="*/ 345867 h 488964"/>
                  <a:gd name="connsiteX7" fmla="*/ 492440 w 655814"/>
                  <a:gd name="connsiteY7" fmla="*/ 351081 h 488964"/>
                  <a:gd name="connsiteX8" fmla="*/ 491281 w 655814"/>
                  <a:gd name="connsiteY8" fmla="*/ 356295 h 488964"/>
                  <a:gd name="connsiteX9" fmla="*/ 492440 w 655814"/>
                  <a:gd name="connsiteY9" fmla="*/ 362668 h 488964"/>
                  <a:gd name="connsiteX10" fmla="*/ 493598 w 655814"/>
                  <a:gd name="connsiteY10" fmla="*/ 367882 h 488964"/>
                  <a:gd name="connsiteX11" fmla="*/ 495916 w 655814"/>
                  <a:gd name="connsiteY11" fmla="*/ 372516 h 488964"/>
                  <a:gd name="connsiteX12" fmla="*/ 499971 w 655814"/>
                  <a:gd name="connsiteY12" fmla="*/ 376572 h 488964"/>
                  <a:gd name="connsiteX13" fmla="*/ 504026 w 655814"/>
                  <a:gd name="connsiteY13" fmla="*/ 380627 h 488964"/>
                  <a:gd name="connsiteX14" fmla="*/ 508661 w 655814"/>
                  <a:gd name="connsiteY14" fmla="*/ 382945 h 488964"/>
                  <a:gd name="connsiteX15" fmla="*/ 514455 w 655814"/>
                  <a:gd name="connsiteY15" fmla="*/ 384103 h 488964"/>
                  <a:gd name="connsiteX16" fmla="*/ 520248 w 655814"/>
                  <a:gd name="connsiteY16" fmla="*/ 385262 h 488964"/>
                  <a:gd name="connsiteX17" fmla="*/ 524883 w 655814"/>
                  <a:gd name="connsiteY17" fmla="*/ 384103 h 488964"/>
                  <a:gd name="connsiteX18" fmla="*/ 529517 w 655814"/>
                  <a:gd name="connsiteY18" fmla="*/ 383524 h 488964"/>
                  <a:gd name="connsiteX19" fmla="*/ 533573 w 655814"/>
                  <a:gd name="connsiteY19" fmla="*/ 381786 h 488964"/>
                  <a:gd name="connsiteX20" fmla="*/ 537628 w 655814"/>
                  <a:gd name="connsiteY20" fmla="*/ 378889 h 488964"/>
                  <a:gd name="connsiteX21" fmla="*/ 541104 w 655814"/>
                  <a:gd name="connsiteY21" fmla="*/ 375992 h 488964"/>
                  <a:gd name="connsiteX22" fmla="*/ 543422 w 655814"/>
                  <a:gd name="connsiteY22" fmla="*/ 372516 h 488964"/>
                  <a:gd name="connsiteX23" fmla="*/ 546318 w 655814"/>
                  <a:gd name="connsiteY23" fmla="*/ 368461 h 488964"/>
                  <a:gd name="connsiteX24" fmla="*/ 547477 w 655814"/>
                  <a:gd name="connsiteY24" fmla="*/ 363826 h 488964"/>
                  <a:gd name="connsiteX25" fmla="*/ 547477 w 655814"/>
                  <a:gd name="connsiteY25" fmla="*/ 362668 h 488964"/>
                  <a:gd name="connsiteX26" fmla="*/ 548056 w 655814"/>
                  <a:gd name="connsiteY26" fmla="*/ 360350 h 488964"/>
                  <a:gd name="connsiteX27" fmla="*/ 549215 w 655814"/>
                  <a:gd name="connsiteY27" fmla="*/ 357454 h 488964"/>
                  <a:gd name="connsiteX28" fmla="*/ 549215 w 655814"/>
                  <a:gd name="connsiteY28" fmla="*/ 356295 h 488964"/>
                  <a:gd name="connsiteX29" fmla="*/ 548056 w 655814"/>
                  <a:gd name="connsiteY29" fmla="*/ 351081 h 488964"/>
                  <a:gd name="connsiteX30" fmla="*/ 546898 w 655814"/>
                  <a:gd name="connsiteY30" fmla="*/ 345867 h 488964"/>
                  <a:gd name="connsiteX31" fmla="*/ 544001 w 655814"/>
                  <a:gd name="connsiteY31" fmla="*/ 340653 h 488964"/>
                  <a:gd name="connsiteX32" fmla="*/ 541104 w 655814"/>
                  <a:gd name="connsiteY32" fmla="*/ 336597 h 488964"/>
                  <a:gd name="connsiteX33" fmla="*/ 536470 w 655814"/>
                  <a:gd name="connsiteY33" fmla="*/ 333121 h 488964"/>
                  <a:gd name="connsiteX34" fmla="*/ 531835 w 655814"/>
                  <a:gd name="connsiteY34" fmla="*/ 329645 h 488964"/>
                  <a:gd name="connsiteX35" fmla="*/ 526041 w 655814"/>
                  <a:gd name="connsiteY35" fmla="*/ 328486 h 488964"/>
                  <a:gd name="connsiteX36" fmla="*/ 512137 w 655814"/>
                  <a:gd name="connsiteY36" fmla="*/ 221308 h 488964"/>
                  <a:gd name="connsiteX37" fmla="*/ 520248 w 655814"/>
                  <a:gd name="connsiteY37" fmla="*/ 249117 h 488964"/>
                  <a:gd name="connsiteX38" fmla="*/ 524303 w 655814"/>
                  <a:gd name="connsiteY38" fmla="*/ 249117 h 488964"/>
                  <a:gd name="connsiteX39" fmla="*/ 527779 w 655814"/>
                  <a:gd name="connsiteY39" fmla="*/ 249117 h 488964"/>
                  <a:gd name="connsiteX40" fmla="*/ 531835 w 655814"/>
                  <a:gd name="connsiteY40" fmla="*/ 249696 h 488964"/>
                  <a:gd name="connsiteX41" fmla="*/ 535890 w 655814"/>
                  <a:gd name="connsiteY41" fmla="*/ 249696 h 488964"/>
                  <a:gd name="connsiteX42" fmla="*/ 539366 w 655814"/>
                  <a:gd name="connsiteY42" fmla="*/ 250275 h 488964"/>
                  <a:gd name="connsiteX43" fmla="*/ 543422 w 655814"/>
                  <a:gd name="connsiteY43" fmla="*/ 250855 h 488964"/>
                  <a:gd name="connsiteX44" fmla="*/ 546898 w 655814"/>
                  <a:gd name="connsiteY44" fmla="*/ 252593 h 488964"/>
                  <a:gd name="connsiteX45" fmla="*/ 550953 w 655814"/>
                  <a:gd name="connsiteY45" fmla="*/ 253172 h 488964"/>
                  <a:gd name="connsiteX46" fmla="*/ 564278 w 655814"/>
                  <a:gd name="connsiteY46" fmla="*/ 229419 h 488964"/>
                  <a:gd name="connsiteX47" fmla="*/ 608887 w 655814"/>
                  <a:gd name="connsiteY47" fmla="*/ 254331 h 488964"/>
                  <a:gd name="connsiteX48" fmla="*/ 595562 w 655814"/>
                  <a:gd name="connsiteY48" fmla="*/ 278663 h 488964"/>
                  <a:gd name="connsiteX49" fmla="*/ 600777 w 655814"/>
                  <a:gd name="connsiteY49" fmla="*/ 283877 h 488964"/>
                  <a:gd name="connsiteX50" fmla="*/ 605991 w 655814"/>
                  <a:gd name="connsiteY50" fmla="*/ 289670 h 488964"/>
                  <a:gd name="connsiteX51" fmla="*/ 610625 w 655814"/>
                  <a:gd name="connsiteY51" fmla="*/ 296623 h 488964"/>
                  <a:gd name="connsiteX52" fmla="*/ 614681 w 655814"/>
                  <a:gd name="connsiteY52" fmla="*/ 302995 h 488964"/>
                  <a:gd name="connsiteX53" fmla="*/ 642489 w 655814"/>
                  <a:gd name="connsiteY53" fmla="*/ 296043 h 488964"/>
                  <a:gd name="connsiteX54" fmla="*/ 655814 w 655814"/>
                  <a:gd name="connsiteY54" fmla="*/ 345287 h 488964"/>
                  <a:gd name="connsiteX55" fmla="*/ 628585 w 655814"/>
                  <a:gd name="connsiteY55" fmla="*/ 352819 h 488964"/>
                  <a:gd name="connsiteX56" fmla="*/ 628585 w 655814"/>
                  <a:gd name="connsiteY56" fmla="*/ 355136 h 488964"/>
                  <a:gd name="connsiteX57" fmla="*/ 628585 w 655814"/>
                  <a:gd name="connsiteY57" fmla="*/ 358612 h 488964"/>
                  <a:gd name="connsiteX58" fmla="*/ 628006 w 655814"/>
                  <a:gd name="connsiteY58" fmla="*/ 361509 h 488964"/>
                  <a:gd name="connsiteX59" fmla="*/ 628006 w 655814"/>
                  <a:gd name="connsiteY59" fmla="*/ 363826 h 488964"/>
                  <a:gd name="connsiteX60" fmla="*/ 626847 w 655814"/>
                  <a:gd name="connsiteY60" fmla="*/ 368461 h 488964"/>
                  <a:gd name="connsiteX61" fmla="*/ 626268 w 655814"/>
                  <a:gd name="connsiteY61" fmla="*/ 373675 h 488964"/>
                  <a:gd name="connsiteX62" fmla="*/ 625109 w 655814"/>
                  <a:gd name="connsiteY62" fmla="*/ 378310 h 488964"/>
                  <a:gd name="connsiteX63" fmla="*/ 624530 w 655814"/>
                  <a:gd name="connsiteY63" fmla="*/ 383524 h 488964"/>
                  <a:gd name="connsiteX64" fmla="*/ 648862 w 655814"/>
                  <a:gd name="connsiteY64" fmla="*/ 397428 h 488964"/>
                  <a:gd name="connsiteX65" fmla="*/ 623950 w 655814"/>
                  <a:gd name="connsiteY65" fmla="*/ 442617 h 488964"/>
                  <a:gd name="connsiteX66" fmla="*/ 598459 w 655814"/>
                  <a:gd name="connsiteY66" fmla="*/ 428133 h 488964"/>
                  <a:gd name="connsiteX67" fmla="*/ 595562 w 655814"/>
                  <a:gd name="connsiteY67" fmla="*/ 431030 h 488964"/>
                  <a:gd name="connsiteX68" fmla="*/ 593245 w 655814"/>
                  <a:gd name="connsiteY68" fmla="*/ 433927 h 488964"/>
                  <a:gd name="connsiteX69" fmla="*/ 590348 w 655814"/>
                  <a:gd name="connsiteY69" fmla="*/ 436244 h 488964"/>
                  <a:gd name="connsiteX70" fmla="*/ 586872 w 655814"/>
                  <a:gd name="connsiteY70" fmla="*/ 438561 h 488964"/>
                  <a:gd name="connsiteX71" fmla="*/ 583976 w 655814"/>
                  <a:gd name="connsiteY71" fmla="*/ 440879 h 488964"/>
                  <a:gd name="connsiteX72" fmla="*/ 581079 w 655814"/>
                  <a:gd name="connsiteY72" fmla="*/ 443196 h 488964"/>
                  <a:gd name="connsiteX73" fmla="*/ 577603 w 655814"/>
                  <a:gd name="connsiteY73" fmla="*/ 444934 h 488964"/>
                  <a:gd name="connsiteX74" fmla="*/ 574127 w 655814"/>
                  <a:gd name="connsiteY74" fmla="*/ 447252 h 488964"/>
                  <a:gd name="connsiteX75" fmla="*/ 581658 w 655814"/>
                  <a:gd name="connsiteY75" fmla="*/ 475060 h 488964"/>
                  <a:gd name="connsiteX76" fmla="*/ 532414 w 655814"/>
                  <a:gd name="connsiteY76" fmla="*/ 488964 h 488964"/>
                  <a:gd name="connsiteX77" fmla="*/ 524303 w 655814"/>
                  <a:gd name="connsiteY77" fmla="*/ 461156 h 488964"/>
                  <a:gd name="connsiteX78" fmla="*/ 520248 w 655814"/>
                  <a:gd name="connsiteY78" fmla="*/ 461156 h 488964"/>
                  <a:gd name="connsiteX79" fmla="*/ 516193 w 655814"/>
                  <a:gd name="connsiteY79" fmla="*/ 461156 h 488964"/>
                  <a:gd name="connsiteX80" fmla="*/ 512137 w 655814"/>
                  <a:gd name="connsiteY80" fmla="*/ 460576 h 488964"/>
                  <a:gd name="connsiteX81" fmla="*/ 508661 w 655814"/>
                  <a:gd name="connsiteY81" fmla="*/ 459418 h 488964"/>
                  <a:gd name="connsiteX82" fmla="*/ 504606 w 655814"/>
                  <a:gd name="connsiteY82" fmla="*/ 459418 h 488964"/>
                  <a:gd name="connsiteX83" fmla="*/ 501130 w 655814"/>
                  <a:gd name="connsiteY83" fmla="*/ 458838 h 488964"/>
                  <a:gd name="connsiteX84" fmla="*/ 497654 w 655814"/>
                  <a:gd name="connsiteY84" fmla="*/ 457680 h 488964"/>
                  <a:gd name="connsiteX85" fmla="*/ 493598 w 655814"/>
                  <a:gd name="connsiteY85" fmla="*/ 457100 h 488964"/>
                  <a:gd name="connsiteX86" fmla="*/ 479694 w 655814"/>
                  <a:gd name="connsiteY86" fmla="*/ 480853 h 488964"/>
                  <a:gd name="connsiteX87" fmla="*/ 434505 w 655814"/>
                  <a:gd name="connsiteY87" fmla="*/ 455942 h 488964"/>
                  <a:gd name="connsiteX88" fmla="*/ 448989 w 655814"/>
                  <a:gd name="connsiteY88" fmla="*/ 431030 h 488964"/>
                  <a:gd name="connsiteX89" fmla="*/ 443195 w 655814"/>
                  <a:gd name="connsiteY89" fmla="*/ 425816 h 488964"/>
                  <a:gd name="connsiteX90" fmla="*/ 437981 w 655814"/>
                  <a:gd name="connsiteY90" fmla="*/ 419443 h 488964"/>
                  <a:gd name="connsiteX91" fmla="*/ 433347 w 655814"/>
                  <a:gd name="connsiteY91" fmla="*/ 413650 h 488964"/>
                  <a:gd name="connsiteX92" fmla="*/ 429291 w 655814"/>
                  <a:gd name="connsiteY92" fmla="*/ 407277 h 488964"/>
                  <a:gd name="connsiteX93" fmla="*/ 402062 w 655814"/>
                  <a:gd name="connsiteY93" fmla="*/ 414229 h 488964"/>
                  <a:gd name="connsiteX94" fmla="*/ 388158 w 655814"/>
                  <a:gd name="connsiteY94" fmla="*/ 364985 h 488964"/>
                  <a:gd name="connsiteX95" fmla="*/ 415966 w 655814"/>
                  <a:gd name="connsiteY95" fmla="*/ 356874 h 488964"/>
                  <a:gd name="connsiteX96" fmla="*/ 415966 w 655814"/>
                  <a:gd name="connsiteY96" fmla="*/ 349343 h 488964"/>
                  <a:gd name="connsiteX97" fmla="*/ 417125 w 655814"/>
                  <a:gd name="connsiteY97" fmla="*/ 341811 h 488964"/>
                  <a:gd name="connsiteX98" fmla="*/ 418284 w 655814"/>
                  <a:gd name="connsiteY98" fmla="*/ 333700 h 488964"/>
                  <a:gd name="connsiteX99" fmla="*/ 420022 w 655814"/>
                  <a:gd name="connsiteY99" fmla="*/ 326169 h 488964"/>
                  <a:gd name="connsiteX100" fmla="*/ 397427 w 655814"/>
                  <a:gd name="connsiteY100" fmla="*/ 314003 h 488964"/>
                  <a:gd name="connsiteX101" fmla="*/ 422919 w 655814"/>
                  <a:gd name="connsiteY101" fmla="*/ 268235 h 488964"/>
                  <a:gd name="connsiteX102" fmla="*/ 445513 w 655814"/>
                  <a:gd name="connsiteY102" fmla="*/ 281560 h 488964"/>
                  <a:gd name="connsiteX103" fmla="*/ 447830 w 655814"/>
                  <a:gd name="connsiteY103" fmla="*/ 279242 h 488964"/>
                  <a:gd name="connsiteX104" fmla="*/ 450727 w 655814"/>
                  <a:gd name="connsiteY104" fmla="*/ 276346 h 488964"/>
                  <a:gd name="connsiteX105" fmla="*/ 454203 w 655814"/>
                  <a:gd name="connsiteY105" fmla="*/ 274028 h 488964"/>
                  <a:gd name="connsiteX106" fmla="*/ 456520 w 655814"/>
                  <a:gd name="connsiteY106" fmla="*/ 271132 h 488964"/>
                  <a:gd name="connsiteX107" fmla="*/ 459996 w 655814"/>
                  <a:gd name="connsiteY107" fmla="*/ 269394 h 488964"/>
                  <a:gd name="connsiteX108" fmla="*/ 463472 w 655814"/>
                  <a:gd name="connsiteY108" fmla="*/ 267076 h 488964"/>
                  <a:gd name="connsiteX109" fmla="*/ 466949 w 655814"/>
                  <a:gd name="connsiteY109" fmla="*/ 265338 h 488964"/>
                  <a:gd name="connsiteX110" fmla="*/ 470425 w 655814"/>
                  <a:gd name="connsiteY110" fmla="*/ 263021 h 488964"/>
                  <a:gd name="connsiteX111" fmla="*/ 462314 w 655814"/>
                  <a:gd name="connsiteY111" fmla="*/ 235212 h 488964"/>
                  <a:gd name="connsiteX112" fmla="*/ 209142 w 655814"/>
                  <a:gd name="connsiteY112" fmla="*/ 107608 h 488964"/>
                  <a:gd name="connsiteX113" fmla="*/ 188286 w 655814"/>
                  <a:gd name="connsiteY113" fmla="*/ 109922 h 488964"/>
                  <a:gd name="connsiteX114" fmla="*/ 169747 w 655814"/>
                  <a:gd name="connsiteY114" fmla="*/ 115707 h 488964"/>
                  <a:gd name="connsiteX115" fmla="*/ 152367 w 655814"/>
                  <a:gd name="connsiteY115" fmla="*/ 124964 h 488964"/>
                  <a:gd name="connsiteX116" fmla="*/ 137304 w 655814"/>
                  <a:gd name="connsiteY116" fmla="*/ 137113 h 488964"/>
                  <a:gd name="connsiteX117" fmla="*/ 125717 w 655814"/>
                  <a:gd name="connsiteY117" fmla="*/ 151576 h 488964"/>
                  <a:gd name="connsiteX118" fmla="*/ 116448 w 655814"/>
                  <a:gd name="connsiteY118" fmla="*/ 168932 h 488964"/>
                  <a:gd name="connsiteX119" fmla="*/ 110075 w 655814"/>
                  <a:gd name="connsiteY119" fmla="*/ 187446 h 488964"/>
                  <a:gd name="connsiteX120" fmla="*/ 108337 w 655814"/>
                  <a:gd name="connsiteY120" fmla="*/ 207694 h 488964"/>
                  <a:gd name="connsiteX121" fmla="*/ 110075 w 655814"/>
                  <a:gd name="connsiteY121" fmla="*/ 227365 h 488964"/>
                  <a:gd name="connsiteX122" fmla="*/ 116448 w 655814"/>
                  <a:gd name="connsiteY122" fmla="*/ 247035 h 488964"/>
                  <a:gd name="connsiteX123" fmla="*/ 125717 w 655814"/>
                  <a:gd name="connsiteY123" fmla="*/ 263234 h 488964"/>
                  <a:gd name="connsiteX124" fmla="*/ 137304 w 655814"/>
                  <a:gd name="connsiteY124" fmla="*/ 278854 h 488964"/>
                  <a:gd name="connsiteX125" fmla="*/ 152367 w 655814"/>
                  <a:gd name="connsiteY125" fmla="*/ 290425 h 488964"/>
                  <a:gd name="connsiteX126" fmla="*/ 169747 w 655814"/>
                  <a:gd name="connsiteY126" fmla="*/ 300260 h 488964"/>
                  <a:gd name="connsiteX127" fmla="*/ 188286 w 655814"/>
                  <a:gd name="connsiteY127" fmla="*/ 306045 h 488964"/>
                  <a:gd name="connsiteX128" fmla="*/ 209142 w 655814"/>
                  <a:gd name="connsiteY128" fmla="*/ 307781 h 488964"/>
                  <a:gd name="connsiteX129" fmla="*/ 228840 w 655814"/>
                  <a:gd name="connsiteY129" fmla="*/ 306045 h 488964"/>
                  <a:gd name="connsiteX130" fmla="*/ 247958 w 655814"/>
                  <a:gd name="connsiteY130" fmla="*/ 300260 h 488964"/>
                  <a:gd name="connsiteX131" fmla="*/ 265338 w 655814"/>
                  <a:gd name="connsiteY131" fmla="*/ 290425 h 488964"/>
                  <a:gd name="connsiteX132" fmla="*/ 279822 w 655814"/>
                  <a:gd name="connsiteY132" fmla="*/ 278854 h 488964"/>
                  <a:gd name="connsiteX133" fmla="*/ 291988 w 655814"/>
                  <a:gd name="connsiteY133" fmla="*/ 263234 h 488964"/>
                  <a:gd name="connsiteX134" fmla="*/ 301257 w 655814"/>
                  <a:gd name="connsiteY134" fmla="*/ 247035 h 488964"/>
                  <a:gd name="connsiteX135" fmla="*/ 307051 w 655814"/>
                  <a:gd name="connsiteY135" fmla="*/ 227365 h 488964"/>
                  <a:gd name="connsiteX136" fmla="*/ 309368 w 655814"/>
                  <a:gd name="connsiteY136" fmla="*/ 207694 h 488964"/>
                  <a:gd name="connsiteX137" fmla="*/ 309368 w 655814"/>
                  <a:gd name="connsiteY137" fmla="*/ 207116 h 488964"/>
                  <a:gd name="connsiteX138" fmla="*/ 309368 w 655814"/>
                  <a:gd name="connsiteY138" fmla="*/ 205959 h 488964"/>
                  <a:gd name="connsiteX139" fmla="*/ 309368 w 655814"/>
                  <a:gd name="connsiteY139" fmla="*/ 205380 h 488964"/>
                  <a:gd name="connsiteX140" fmla="*/ 305892 w 655814"/>
                  <a:gd name="connsiteY140" fmla="*/ 185131 h 488964"/>
                  <a:gd name="connsiteX141" fmla="*/ 300098 w 655814"/>
                  <a:gd name="connsiteY141" fmla="*/ 166040 h 488964"/>
                  <a:gd name="connsiteX142" fmla="*/ 289670 w 655814"/>
                  <a:gd name="connsiteY142" fmla="*/ 149841 h 488964"/>
                  <a:gd name="connsiteX143" fmla="*/ 278084 w 655814"/>
                  <a:gd name="connsiteY143" fmla="*/ 135956 h 488964"/>
                  <a:gd name="connsiteX144" fmla="*/ 263021 w 655814"/>
                  <a:gd name="connsiteY144" fmla="*/ 123807 h 488964"/>
                  <a:gd name="connsiteX145" fmla="*/ 246220 w 655814"/>
                  <a:gd name="connsiteY145" fmla="*/ 115129 h 488964"/>
                  <a:gd name="connsiteX146" fmla="*/ 228260 w 655814"/>
                  <a:gd name="connsiteY146" fmla="*/ 109922 h 488964"/>
                  <a:gd name="connsiteX147" fmla="*/ 552395 w 655814"/>
                  <a:gd name="connsiteY147" fmla="*/ 94433 h 488964"/>
                  <a:gd name="connsiteX148" fmla="*/ 543676 w 655814"/>
                  <a:gd name="connsiteY148" fmla="*/ 96171 h 488964"/>
                  <a:gd name="connsiteX149" fmla="*/ 536120 w 655814"/>
                  <a:gd name="connsiteY149" fmla="*/ 98488 h 488964"/>
                  <a:gd name="connsiteX150" fmla="*/ 528563 w 655814"/>
                  <a:gd name="connsiteY150" fmla="*/ 102543 h 488964"/>
                  <a:gd name="connsiteX151" fmla="*/ 521588 w 655814"/>
                  <a:gd name="connsiteY151" fmla="*/ 107757 h 488964"/>
                  <a:gd name="connsiteX152" fmla="*/ 516357 w 655814"/>
                  <a:gd name="connsiteY152" fmla="*/ 114710 h 488964"/>
                  <a:gd name="connsiteX153" fmla="*/ 512869 w 655814"/>
                  <a:gd name="connsiteY153" fmla="*/ 122241 h 488964"/>
                  <a:gd name="connsiteX154" fmla="*/ 510544 w 655814"/>
                  <a:gd name="connsiteY154" fmla="*/ 130931 h 488964"/>
                  <a:gd name="connsiteX155" fmla="*/ 509963 w 655814"/>
                  <a:gd name="connsiteY155" fmla="*/ 139042 h 488964"/>
                  <a:gd name="connsiteX156" fmla="*/ 511125 w 655814"/>
                  <a:gd name="connsiteY156" fmla="*/ 147732 h 488964"/>
                  <a:gd name="connsiteX157" fmla="*/ 514032 w 655814"/>
                  <a:gd name="connsiteY157" fmla="*/ 156422 h 488964"/>
                  <a:gd name="connsiteX158" fmla="*/ 518100 w 655814"/>
                  <a:gd name="connsiteY158" fmla="*/ 163953 h 488964"/>
                  <a:gd name="connsiteX159" fmla="*/ 523913 w 655814"/>
                  <a:gd name="connsiteY159" fmla="*/ 170906 h 488964"/>
                  <a:gd name="connsiteX160" fmla="*/ 529726 w 655814"/>
                  <a:gd name="connsiteY160" fmla="*/ 176120 h 488964"/>
                  <a:gd name="connsiteX161" fmla="*/ 537863 w 655814"/>
                  <a:gd name="connsiteY161" fmla="*/ 179016 h 488964"/>
                  <a:gd name="connsiteX162" fmla="*/ 546001 w 655814"/>
                  <a:gd name="connsiteY162" fmla="*/ 181913 h 488964"/>
                  <a:gd name="connsiteX163" fmla="*/ 555301 w 655814"/>
                  <a:gd name="connsiteY163" fmla="*/ 182492 h 488964"/>
                  <a:gd name="connsiteX164" fmla="*/ 563439 w 655814"/>
                  <a:gd name="connsiteY164" fmla="*/ 181913 h 488964"/>
                  <a:gd name="connsiteX165" fmla="*/ 570996 w 655814"/>
                  <a:gd name="connsiteY165" fmla="*/ 179016 h 488964"/>
                  <a:gd name="connsiteX166" fmla="*/ 577971 w 655814"/>
                  <a:gd name="connsiteY166" fmla="*/ 176120 h 488964"/>
                  <a:gd name="connsiteX167" fmla="*/ 584365 w 655814"/>
                  <a:gd name="connsiteY167" fmla="*/ 170906 h 488964"/>
                  <a:gd name="connsiteX168" fmla="*/ 589596 w 655814"/>
                  <a:gd name="connsiteY168" fmla="*/ 165112 h 488964"/>
                  <a:gd name="connsiteX169" fmla="*/ 593665 w 655814"/>
                  <a:gd name="connsiteY169" fmla="*/ 158739 h 488964"/>
                  <a:gd name="connsiteX170" fmla="*/ 597153 w 655814"/>
                  <a:gd name="connsiteY170" fmla="*/ 150629 h 488964"/>
                  <a:gd name="connsiteX171" fmla="*/ 598315 w 655814"/>
                  <a:gd name="connsiteY171" fmla="*/ 142518 h 488964"/>
                  <a:gd name="connsiteX172" fmla="*/ 598315 w 655814"/>
                  <a:gd name="connsiteY172" fmla="*/ 141359 h 488964"/>
                  <a:gd name="connsiteX173" fmla="*/ 598896 w 655814"/>
                  <a:gd name="connsiteY173" fmla="*/ 140200 h 488964"/>
                  <a:gd name="connsiteX174" fmla="*/ 598896 w 655814"/>
                  <a:gd name="connsiteY174" fmla="*/ 138462 h 488964"/>
                  <a:gd name="connsiteX175" fmla="*/ 598896 w 655814"/>
                  <a:gd name="connsiteY175" fmla="*/ 137304 h 488964"/>
                  <a:gd name="connsiteX176" fmla="*/ 597734 w 655814"/>
                  <a:gd name="connsiteY176" fmla="*/ 128614 h 488964"/>
                  <a:gd name="connsiteX177" fmla="*/ 594827 w 655814"/>
                  <a:gd name="connsiteY177" fmla="*/ 120503 h 488964"/>
                  <a:gd name="connsiteX178" fmla="*/ 590177 w 655814"/>
                  <a:gd name="connsiteY178" fmla="*/ 113551 h 488964"/>
                  <a:gd name="connsiteX179" fmla="*/ 584946 w 655814"/>
                  <a:gd name="connsiteY179" fmla="*/ 106599 h 488964"/>
                  <a:gd name="connsiteX180" fmla="*/ 577971 w 655814"/>
                  <a:gd name="connsiteY180" fmla="*/ 101385 h 488964"/>
                  <a:gd name="connsiteX181" fmla="*/ 569833 w 655814"/>
                  <a:gd name="connsiteY181" fmla="*/ 97909 h 488964"/>
                  <a:gd name="connsiteX182" fmla="*/ 562277 w 655814"/>
                  <a:gd name="connsiteY182" fmla="*/ 95591 h 488964"/>
                  <a:gd name="connsiteX183" fmla="*/ 550070 w 655814"/>
                  <a:gd name="connsiteY183" fmla="*/ 50982 h 488964"/>
                  <a:gd name="connsiteX184" fmla="*/ 583783 w 655814"/>
                  <a:gd name="connsiteY184" fmla="*/ 56196 h 488964"/>
                  <a:gd name="connsiteX185" fmla="*/ 580877 w 655814"/>
                  <a:gd name="connsiteY185" fmla="*/ 74156 h 488964"/>
                  <a:gd name="connsiteX186" fmla="*/ 585527 w 655814"/>
                  <a:gd name="connsiteY186" fmla="*/ 75894 h 488964"/>
                  <a:gd name="connsiteX187" fmla="*/ 589596 w 655814"/>
                  <a:gd name="connsiteY187" fmla="*/ 78790 h 488964"/>
                  <a:gd name="connsiteX188" fmla="*/ 594246 w 655814"/>
                  <a:gd name="connsiteY188" fmla="*/ 81108 h 488964"/>
                  <a:gd name="connsiteX189" fmla="*/ 598315 w 655814"/>
                  <a:gd name="connsiteY189" fmla="*/ 84584 h 488964"/>
                  <a:gd name="connsiteX190" fmla="*/ 613428 w 655814"/>
                  <a:gd name="connsiteY190" fmla="*/ 73576 h 488964"/>
                  <a:gd name="connsiteX191" fmla="*/ 633772 w 655814"/>
                  <a:gd name="connsiteY191" fmla="*/ 100805 h 488964"/>
                  <a:gd name="connsiteX192" fmla="*/ 618078 w 655814"/>
                  <a:gd name="connsiteY192" fmla="*/ 111813 h 488964"/>
                  <a:gd name="connsiteX193" fmla="*/ 620403 w 655814"/>
                  <a:gd name="connsiteY193" fmla="*/ 116448 h 488964"/>
                  <a:gd name="connsiteX194" fmla="*/ 621566 w 655814"/>
                  <a:gd name="connsiteY194" fmla="*/ 121082 h 488964"/>
                  <a:gd name="connsiteX195" fmla="*/ 622147 w 655814"/>
                  <a:gd name="connsiteY195" fmla="*/ 126876 h 488964"/>
                  <a:gd name="connsiteX196" fmla="*/ 623310 w 655814"/>
                  <a:gd name="connsiteY196" fmla="*/ 131510 h 488964"/>
                  <a:gd name="connsiteX197" fmla="*/ 641910 w 655814"/>
                  <a:gd name="connsiteY197" fmla="*/ 133828 h 488964"/>
                  <a:gd name="connsiteX198" fmla="*/ 640166 w 655814"/>
                  <a:gd name="connsiteY198" fmla="*/ 142518 h 488964"/>
                  <a:gd name="connsiteX199" fmla="*/ 636679 w 655814"/>
                  <a:gd name="connsiteY199" fmla="*/ 167429 h 488964"/>
                  <a:gd name="connsiteX200" fmla="*/ 617497 w 655814"/>
                  <a:gd name="connsiteY200" fmla="*/ 164533 h 488964"/>
                  <a:gd name="connsiteX201" fmla="*/ 615753 w 655814"/>
                  <a:gd name="connsiteY201" fmla="*/ 169167 h 488964"/>
                  <a:gd name="connsiteX202" fmla="*/ 612847 w 655814"/>
                  <a:gd name="connsiteY202" fmla="*/ 173223 h 488964"/>
                  <a:gd name="connsiteX203" fmla="*/ 610522 w 655814"/>
                  <a:gd name="connsiteY203" fmla="*/ 177858 h 488964"/>
                  <a:gd name="connsiteX204" fmla="*/ 607034 w 655814"/>
                  <a:gd name="connsiteY204" fmla="*/ 181913 h 488964"/>
                  <a:gd name="connsiteX205" fmla="*/ 618078 w 655814"/>
                  <a:gd name="connsiteY205" fmla="*/ 197555 h 488964"/>
                  <a:gd name="connsiteX206" fmla="*/ 590759 w 655814"/>
                  <a:gd name="connsiteY206" fmla="*/ 217253 h 488964"/>
                  <a:gd name="connsiteX207" fmla="*/ 579715 w 655814"/>
                  <a:gd name="connsiteY207" fmla="*/ 202190 h 488964"/>
                  <a:gd name="connsiteX208" fmla="*/ 575064 w 655814"/>
                  <a:gd name="connsiteY208" fmla="*/ 203349 h 488964"/>
                  <a:gd name="connsiteX209" fmla="*/ 569833 w 655814"/>
                  <a:gd name="connsiteY209" fmla="*/ 204507 h 488964"/>
                  <a:gd name="connsiteX210" fmla="*/ 564602 w 655814"/>
                  <a:gd name="connsiteY210" fmla="*/ 205666 h 488964"/>
                  <a:gd name="connsiteX211" fmla="*/ 559952 w 655814"/>
                  <a:gd name="connsiteY211" fmla="*/ 206825 h 488964"/>
                  <a:gd name="connsiteX212" fmla="*/ 556464 w 655814"/>
                  <a:gd name="connsiteY212" fmla="*/ 224784 h 488964"/>
                  <a:gd name="connsiteX213" fmla="*/ 523332 w 655814"/>
                  <a:gd name="connsiteY213" fmla="*/ 218991 h 488964"/>
                  <a:gd name="connsiteX214" fmla="*/ 526819 w 655814"/>
                  <a:gd name="connsiteY214" fmla="*/ 201031 h 488964"/>
                  <a:gd name="connsiteX215" fmla="*/ 521588 w 655814"/>
                  <a:gd name="connsiteY215" fmla="*/ 199293 h 488964"/>
                  <a:gd name="connsiteX216" fmla="*/ 516938 w 655814"/>
                  <a:gd name="connsiteY216" fmla="*/ 196396 h 488964"/>
                  <a:gd name="connsiteX217" fmla="*/ 512869 w 655814"/>
                  <a:gd name="connsiteY217" fmla="*/ 194079 h 488964"/>
                  <a:gd name="connsiteX218" fmla="*/ 509381 w 655814"/>
                  <a:gd name="connsiteY218" fmla="*/ 190603 h 488964"/>
                  <a:gd name="connsiteX219" fmla="*/ 493687 w 655814"/>
                  <a:gd name="connsiteY219" fmla="*/ 202190 h 488964"/>
                  <a:gd name="connsiteX220" fmla="*/ 473343 w 655814"/>
                  <a:gd name="connsiteY220" fmla="*/ 174382 h 488964"/>
                  <a:gd name="connsiteX221" fmla="*/ 489037 w 655814"/>
                  <a:gd name="connsiteY221" fmla="*/ 163374 h 488964"/>
                  <a:gd name="connsiteX222" fmla="*/ 487293 w 655814"/>
                  <a:gd name="connsiteY222" fmla="*/ 158160 h 488964"/>
                  <a:gd name="connsiteX223" fmla="*/ 485550 w 655814"/>
                  <a:gd name="connsiteY223" fmla="*/ 153525 h 488964"/>
                  <a:gd name="connsiteX224" fmla="*/ 484968 w 655814"/>
                  <a:gd name="connsiteY224" fmla="*/ 147732 h 488964"/>
                  <a:gd name="connsiteX225" fmla="*/ 484387 w 655814"/>
                  <a:gd name="connsiteY225" fmla="*/ 143097 h 488964"/>
                  <a:gd name="connsiteX226" fmla="*/ 466949 w 655814"/>
                  <a:gd name="connsiteY226" fmla="*/ 140780 h 488964"/>
                  <a:gd name="connsiteX227" fmla="*/ 472180 w 655814"/>
                  <a:gd name="connsiteY227" fmla="*/ 107757 h 488964"/>
                  <a:gd name="connsiteX228" fmla="*/ 489618 w 655814"/>
                  <a:gd name="connsiteY228" fmla="*/ 110654 h 488964"/>
                  <a:gd name="connsiteX229" fmla="*/ 491943 w 655814"/>
                  <a:gd name="connsiteY229" fmla="*/ 106019 h 488964"/>
                  <a:gd name="connsiteX230" fmla="*/ 493687 w 655814"/>
                  <a:gd name="connsiteY230" fmla="*/ 101964 h 488964"/>
                  <a:gd name="connsiteX231" fmla="*/ 497175 w 655814"/>
                  <a:gd name="connsiteY231" fmla="*/ 97329 h 488964"/>
                  <a:gd name="connsiteX232" fmla="*/ 499500 w 655814"/>
                  <a:gd name="connsiteY232" fmla="*/ 93274 h 488964"/>
                  <a:gd name="connsiteX233" fmla="*/ 489037 w 655814"/>
                  <a:gd name="connsiteY233" fmla="*/ 78211 h 488964"/>
                  <a:gd name="connsiteX234" fmla="*/ 516357 w 655814"/>
                  <a:gd name="connsiteY234" fmla="*/ 57934 h 488964"/>
                  <a:gd name="connsiteX235" fmla="*/ 527401 w 655814"/>
                  <a:gd name="connsiteY235" fmla="*/ 73576 h 488964"/>
                  <a:gd name="connsiteX236" fmla="*/ 529726 w 655814"/>
                  <a:gd name="connsiteY236" fmla="*/ 72418 h 488964"/>
                  <a:gd name="connsiteX237" fmla="*/ 532632 w 655814"/>
                  <a:gd name="connsiteY237" fmla="*/ 71259 h 488964"/>
                  <a:gd name="connsiteX238" fmla="*/ 534376 w 655814"/>
                  <a:gd name="connsiteY238" fmla="*/ 70680 h 488964"/>
                  <a:gd name="connsiteX239" fmla="*/ 537282 w 655814"/>
                  <a:gd name="connsiteY239" fmla="*/ 70100 h 488964"/>
                  <a:gd name="connsiteX240" fmla="*/ 540188 w 655814"/>
                  <a:gd name="connsiteY240" fmla="*/ 70100 h 488964"/>
                  <a:gd name="connsiteX241" fmla="*/ 542514 w 655814"/>
                  <a:gd name="connsiteY241" fmla="*/ 69521 h 488964"/>
                  <a:gd name="connsiteX242" fmla="*/ 544839 w 655814"/>
                  <a:gd name="connsiteY242" fmla="*/ 68942 h 488964"/>
                  <a:gd name="connsiteX243" fmla="*/ 547164 w 655814"/>
                  <a:gd name="connsiteY243" fmla="*/ 68942 h 488964"/>
                  <a:gd name="connsiteX244" fmla="*/ 167430 w 655814"/>
                  <a:gd name="connsiteY244" fmla="*/ 0 h 488964"/>
                  <a:gd name="connsiteX245" fmla="*/ 249696 w 655814"/>
                  <a:gd name="connsiteY245" fmla="*/ 0 h 488964"/>
                  <a:gd name="connsiteX246" fmla="*/ 249696 w 655814"/>
                  <a:gd name="connsiteY246" fmla="*/ 45126 h 488964"/>
                  <a:gd name="connsiteX247" fmla="*/ 256069 w 655814"/>
                  <a:gd name="connsiteY247" fmla="*/ 47440 h 488964"/>
                  <a:gd name="connsiteX248" fmla="*/ 261862 w 655814"/>
                  <a:gd name="connsiteY248" fmla="*/ 49176 h 488964"/>
                  <a:gd name="connsiteX249" fmla="*/ 267655 w 655814"/>
                  <a:gd name="connsiteY249" fmla="*/ 51490 h 488964"/>
                  <a:gd name="connsiteX250" fmla="*/ 272869 w 655814"/>
                  <a:gd name="connsiteY250" fmla="*/ 53225 h 488964"/>
                  <a:gd name="connsiteX251" fmla="*/ 279242 w 655814"/>
                  <a:gd name="connsiteY251" fmla="*/ 56118 h 488964"/>
                  <a:gd name="connsiteX252" fmla="*/ 284456 w 655814"/>
                  <a:gd name="connsiteY252" fmla="*/ 58432 h 488964"/>
                  <a:gd name="connsiteX253" fmla="*/ 289670 w 655814"/>
                  <a:gd name="connsiteY253" fmla="*/ 61325 h 488964"/>
                  <a:gd name="connsiteX254" fmla="*/ 295464 w 655814"/>
                  <a:gd name="connsiteY254" fmla="*/ 64796 h 488964"/>
                  <a:gd name="connsiteX255" fmla="*/ 326748 w 655814"/>
                  <a:gd name="connsiteY255" fmla="*/ 32977 h 488964"/>
                  <a:gd name="connsiteX256" fmla="*/ 384103 w 655814"/>
                  <a:gd name="connsiteY256" fmla="*/ 91409 h 488964"/>
                  <a:gd name="connsiteX257" fmla="*/ 353398 w 655814"/>
                  <a:gd name="connsiteY257" fmla="*/ 121493 h 488964"/>
                  <a:gd name="connsiteX258" fmla="*/ 359191 w 655814"/>
                  <a:gd name="connsiteY258" fmla="*/ 132485 h 488964"/>
                  <a:gd name="connsiteX259" fmla="*/ 363826 w 655814"/>
                  <a:gd name="connsiteY259" fmla="*/ 142898 h 488964"/>
                  <a:gd name="connsiteX260" fmla="*/ 368461 w 655814"/>
                  <a:gd name="connsiteY260" fmla="*/ 155048 h 488964"/>
                  <a:gd name="connsiteX261" fmla="*/ 371937 w 655814"/>
                  <a:gd name="connsiteY261" fmla="*/ 167197 h 488964"/>
                  <a:gd name="connsiteX262" fmla="*/ 418284 w 655814"/>
                  <a:gd name="connsiteY262" fmla="*/ 167197 h 488964"/>
                  <a:gd name="connsiteX263" fmla="*/ 418284 w 655814"/>
                  <a:gd name="connsiteY263" fmla="*/ 205380 h 488964"/>
                  <a:gd name="connsiteX264" fmla="*/ 418284 w 655814"/>
                  <a:gd name="connsiteY264" fmla="*/ 248192 h 488964"/>
                  <a:gd name="connsiteX265" fmla="*/ 371937 w 655814"/>
                  <a:gd name="connsiteY265" fmla="*/ 248192 h 488964"/>
                  <a:gd name="connsiteX266" fmla="*/ 368461 w 655814"/>
                  <a:gd name="connsiteY266" fmla="*/ 260341 h 488964"/>
                  <a:gd name="connsiteX267" fmla="*/ 363826 w 655814"/>
                  <a:gd name="connsiteY267" fmla="*/ 271333 h 488964"/>
                  <a:gd name="connsiteX268" fmla="*/ 359191 w 655814"/>
                  <a:gd name="connsiteY268" fmla="*/ 282904 h 488964"/>
                  <a:gd name="connsiteX269" fmla="*/ 353398 w 655814"/>
                  <a:gd name="connsiteY269" fmla="*/ 293318 h 488964"/>
                  <a:gd name="connsiteX270" fmla="*/ 385262 w 655814"/>
                  <a:gd name="connsiteY270" fmla="*/ 325716 h 488964"/>
                  <a:gd name="connsiteX271" fmla="*/ 327907 w 655814"/>
                  <a:gd name="connsiteY271" fmla="*/ 383569 h 488964"/>
                  <a:gd name="connsiteX272" fmla="*/ 295464 w 655814"/>
                  <a:gd name="connsiteY272" fmla="*/ 351171 h 488964"/>
                  <a:gd name="connsiteX273" fmla="*/ 289670 w 655814"/>
                  <a:gd name="connsiteY273" fmla="*/ 354642 h 488964"/>
                  <a:gd name="connsiteX274" fmla="*/ 284456 w 655814"/>
                  <a:gd name="connsiteY274" fmla="*/ 356957 h 488964"/>
                  <a:gd name="connsiteX275" fmla="*/ 279242 w 655814"/>
                  <a:gd name="connsiteY275" fmla="*/ 359849 h 488964"/>
                  <a:gd name="connsiteX276" fmla="*/ 272869 w 655814"/>
                  <a:gd name="connsiteY276" fmla="*/ 362742 h 488964"/>
                  <a:gd name="connsiteX277" fmla="*/ 267655 w 655814"/>
                  <a:gd name="connsiteY277" fmla="*/ 364477 h 488964"/>
                  <a:gd name="connsiteX278" fmla="*/ 261862 w 655814"/>
                  <a:gd name="connsiteY278" fmla="*/ 366792 h 488964"/>
                  <a:gd name="connsiteX279" fmla="*/ 256069 w 655814"/>
                  <a:gd name="connsiteY279" fmla="*/ 368527 h 488964"/>
                  <a:gd name="connsiteX280" fmla="*/ 249696 w 655814"/>
                  <a:gd name="connsiteY280" fmla="*/ 369684 h 488964"/>
                  <a:gd name="connsiteX281" fmla="*/ 249696 w 655814"/>
                  <a:gd name="connsiteY281" fmla="*/ 415967 h 488964"/>
                  <a:gd name="connsiteX282" fmla="*/ 167430 w 655814"/>
                  <a:gd name="connsiteY282" fmla="*/ 415967 h 488964"/>
                  <a:gd name="connsiteX283" fmla="*/ 167430 w 655814"/>
                  <a:gd name="connsiteY283" fmla="*/ 369684 h 488964"/>
                  <a:gd name="connsiteX284" fmla="*/ 161636 w 655814"/>
                  <a:gd name="connsiteY284" fmla="*/ 368527 h 488964"/>
                  <a:gd name="connsiteX285" fmla="*/ 155843 w 655814"/>
                  <a:gd name="connsiteY285" fmla="*/ 366792 h 488964"/>
                  <a:gd name="connsiteX286" fmla="*/ 149470 w 655814"/>
                  <a:gd name="connsiteY286" fmla="*/ 364477 h 488964"/>
                  <a:gd name="connsiteX287" fmla="*/ 144256 w 655814"/>
                  <a:gd name="connsiteY287" fmla="*/ 362742 h 488964"/>
                  <a:gd name="connsiteX288" fmla="*/ 138463 w 655814"/>
                  <a:gd name="connsiteY288" fmla="*/ 359849 h 488964"/>
                  <a:gd name="connsiteX289" fmla="*/ 132669 w 655814"/>
                  <a:gd name="connsiteY289" fmla="*/ 356957 h 488964"/>
                  <a:gd name="connsiteX290" fmla="*/ 127455 w 655814"/>
                  <a:gd name="connsiteY290" fmla="*/ 354642 h 488964"/>
                  <a:gd name="connsiteX291" fmla="*/ 122241 w 655814"/>
                  <a:gd name="connsiteY291" fmla="*/ 351171 h 488964"/>
                  <a:gd name="connsiteX292" fmla="*/ 91536 w 655814"/>
                  <a:gd name="connsiteY292" fmla="*/ 382412 h 488964"/>
                  <a:gd name="connsiteX293" fmla="*/ 34181 w 655814"/>
                  <a:gd name="connsiteY293" fmla="*/ 324559 h 488964"/>
                  <a:gd name="connsiteX294" fmla="*/ 64886 w 655814"/>
                  <a:gd name="connsiteY294" fmla="*/ 293318 h 488964"/>
                  <a:gd name="connsiteX295" fmla="*/ 58514 w 655814"/>
                  <a:gd name="connsiteY295" fmla="*/ 282904 h 488964"/>
                  <a:gd name="connsiteX296" fmla="*/ 53879 w 655814"/>
                  <a:gd name="connsiteY296" fmla="*/ 271333 h 488964"/>
                  <a:gd name="connsiteX297" fmla="*/ 49244 w 655814"/>
                  <a:gd name="connsiteY297" fmla="*/ 260341 h 488964"/>
                  <a:gd name="connsiteX298" fmla="*/ 46348 w 655814"/>
                  <a:gd name="connsiteY298" fmla="*/ 248192 h 488964"/>
                  <a:gd name="connsiteX299" fmla="*/ 0 w 655814"/>
                  <a:gd name="connsiteY299" fmla="*/ 248192 h 488964"/>
                  <a:gd name="connsiteX300" fmla="*/ 0 w 655814"/>
                  <a:gd name="connsiteY300" fmla="*/ 167197 h 488964"/>
                  <a:gd name="connsiteX301" fmla="*/ 46348 w 655814"/>
                  <a:gd name="connsiteY301" fmla="*/ 167197 h 488964"/>
                  <a:gd name="connsiteX302" fmla="*/ 49244 w 655814"/>
                  <a:gd name="connsiteY302" fmla="*/ 155048 h 488964"/>
                  <a:gd name="connsiteX303" fmla="*/ 53879 w 655814"/>
                  <a:gd name="connsiteY303" fmla="*/ 142898 h 488964"/>
                  <a:gd name="connsiteX304" fmla="*/ 58514 w 655814"/>
                  <a:gd name="connsiteY304" fmla="*/ 132485 h 488964"/>
                  <a:gd name="connsiteX305" fmla="*/ 64886 w 655814"/>
                  <a:gd name="connsiteY305" fmla="*/ 121493 h 488964"/>
                  <a:gd name="connsiteX306" fmla="*/ 35340 w 655814"/>
                  <a:gd name="connsiteY306" fmla="*/ 92566 h 488964"/>
                  <a:gd name="connsiteX307" fmla="*/ 93274 w 655814"/>
                  <a:gd name="connsiteY307" fmla="*/ 34712 h 488964"/>
                  <a:gd name="connsiteX308" fmla="*/ 122241 w 655814"/>
                  <a:gd name="connsiteY308" fmla="*/ 64796 h 488964"/>
                  <a:gd name="connsiteX309" fmla="*/ 127455 w 655814"/>
                  <a:gd name="connsiteY309" fmla="*/ 61325 h 488964"/>
                  <a:gd name="connsiteX310" fmla="*/ 132669 w 655814"/>
                  <a:gd name="connsiteY310" fmla="*/ 58432 h 488964"/>
                  <a:gd name="connsiteX311" fmla="*/ 138463 w 655814"/>
                  <a:gd name="connsiteY311" fmla="*/ 56118 h 488964"/>
                  <a:gd name="connsiteX312" fmla="*/ 144256 w 655814"/>
                  <a:gd name="connsiteY312" fmla="*/ 53225 h 488964"/>
                  <a:gd name="connsiteX313" fmla="*/ 149470 w 655814"/>
                  <a:gd name="connsiteY313" fmla="*/ 51490 h 488964"/>
                  <a:gd name="connsiteX314" fmla="*/ 155843 w 655814"/>
                  <a:gd name="connsiteY314" fmla="*/ 49176 h 488964"/>
                  <a:gd name="connsiteX315" fmla="*/ 161636 w 655814"/>
                  <a:gd name="connsiteY315" fmla="*/ 47440 h 488964"/>
                  <a:gd name="connsiteX316" fmla="*/ 167430 w 655814"/>
                  <a:gd name="connsiteY316" fmla="*/ 45126 h 48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</a:cxnLst>
                <a:rect l="l" t="t" r="r" b="b"/>
                <a:pathLst>
                  <a:path w="655814" h="488964">
                    <a:moveTo>
                      <a:pt x="520248" y="327907"/>
                    </a:moveTo>
                    <a:lnTo>
                      <a:pt x="514455" y="328486"/>
                    </a:lnTo>
                    <a:lnTo>
                      <a:pt x="508661" y="329645"/>
                    </a:lnTo>
                    <a:lnTo>
                      <a:pt x="504026" y="333121"/>
                    </a:lnTo>
                    <a:lnTo>
                      <a:pt x="499971" y="336597"/>
                    </a:lnTo>
                    <a:lnTo>
                      <a:pt x="495916" y="340653"/>
                    </a:lnTo>
                    <a:lnTo>
                      <a:pt x="493598" y="345867"/>
                    </a:lnTo>
                    <a:lnTo>
                      <a:pt x="492440" y="351081"/>
                    </a:lnTo>
                    <a:lnTo>
                      <a:pt x="491281" y="356295"/>
                    </a:lnTo>
                    <a:lnTo>
                      <a:pt x="492440" y="362668"/>
                    </a:lnTo>
                    <a:lnTo>
                      <a:pt x="493598" y="367882"/>
                    </a:lnTo>
                    <a:lnTo>
                      <a:pt x="495916" y="372516"/>
                    </a:lnTo>
                    <a:lnTo>
                      <a:pt x="499971" y="376572"/>
                    </a:lnTo>
                    <a:lnTo>
                      <a:pt x="504026" y="380627"/>
                    </a:lnTo>
                    <a:lnTo>
                      <a:pt x="508661" y="382945"/>
                    </a:lnTo>
                    <a:lnTo>
                      <a:pt x="514455" y="384103"/>
                    </a:lnTo>
                    <a:lnTo>
                      <a:pt x="520248" y="385262"/>
                    </a:lnTo>
                    <a:lnTo>
                      <a:pt x="524883" y="384103"/>
                    </a:lnTo>
                    <a:lnTo>
                      <a:pt x="529517" y="383524"/>
                    </a:lnTo>
                    <a:lnTo>
                      <a:pt x="533573" y="381786"/>
                    </a:lnTo>
                    <a:lnTo>
                      <a:pt x="537628" y="378889"/>
                    </a:lnTo>
                    <a:lnTo>
                      <a:pt x="541104" y="375992"/>
                    </a:lnTo>
                    <a:lnTo>
                      <a:pt x="543422" y="372516"/>
                    </a:lnTo>
                    <a:lnTo>
                      <a:pt x="546318" y="368461"/>
                    </a:lnTo>
                    <a:lnTo>
                      <a:pt x="547477" y="363826"/>
                    </a:lnTo>
                    <a:lnTo>
                      <a:pt x="547477" y="362668"/>
                    </a:lnTo>
                    <a:lnTo>
                      <a:pt x="548056" y="360350"/>
                    </a:lnTo>
                    <a:lnTo>
                      <a:pt x="549215" y="357454"/>
                    </a:lnTo>
                    <a:lnTo>
                      <a:pt x="549215" y="356295"/>
                    </a:lnTo>
                    <a:lnTo>
                      <a:pt x="548056" y="351081"/>
                    </a:lnTo>
                    <a:lnTo>
                      <a:pt x="546898" y="345867"/>
                    </a:lnTo>
                    <a:lnTo>
                      <a:pt x="544001" y="340653"/>
                    </a:lnTo>
                    <a:lnTo>
                      <a:pt x="541104" y="336597"/>
                    </a:lnTo>
                    <a:lnTo>
                      <a:pt x="536470" y="333121"/>
                    </a:lnTo>
                    <a:lnTo>
                      <a:pt x="531835" y="329645"/>
                    </a:lnTo>
                    <a:lnTo>
                      <a:pt x="526041" y="328486"/>
                    </a:lnTo>
                    <a:close/>
                    <a:moveTo>
                      <a:pt x="512137" y="221308"/>
                    </a:moveTo>
                    <a:lnTo>
                      <a:pt x="520248" y="249117"/>
                    </a:lnTo>
                    <a:lnTo>
                      <a:pt x="524303" y="249117"/>
                    </a:lnTo>
                    <a:lnTo>
                      <a:pt x="527779" y="249117"/>
                    </a:lnTo>
                    <a:lnTo>
                      <a:pt x="531835" y="249696"/>
                    </a:lnTo>
                    <a:lnTo>
                      <a:pt x="535890" y="249696"/>
                    </a:lnTo>
                    <a:lnTo>
                      <a:pt x="539366" y="250275"/>
                    </a:lnTo>
                    <a:lnTo>
                      <a:pt x="543422" y="250855"/>
                    </a:lnTo>
                    <a:lnTo>
                      <a:pt x="546898" y="252593"/>
                    </a:lnTo>
                    <a:lnTo>
                      <a:pt x="550953" y="253172"/>
                    </a:lnTo>
                    <a:lnTo>
                      <a:pt x="564278" y="229419"/>
                    </a:lnTo>
                    <a:lnTo>
                      <a:pt x="608887" y="254331"/>
                    </a:lnTo>
                    <a:lnTo>
                      <a:pt x="595562" y="278663"/>
                    </a:lnTo>
                    <a:lnTo>
                      <a:pt x="600777" y="283877"/>
                    </a:lnTo>
                    <a:lnTo>
                      <a:pt x="605991" y="289670"/>
                    </a:lnTo>
                    <a:lnTo>
                      <a:pt x="610625" y="296623"/>
                    </a:lnTo>
                    <a:lnTo>
                      <a:pt x="614681" y="302995"/>
                    </a:lnTo>
                    <a:lnTo>
                      <a:pt x="642489" y="296043"/>
                    </a:lnTo>
                    <a:lnTo>
                      <a:pt x="655814" y="345287"/>
                    </a:lnTo>
                    <a:lnTo>
                      <a:pt x="628585" y="352819"/>
                    </a:lnTo>
                    <a:lnTo>
                      <a:pt x="628585" y="355136"/>
                    </a:lnTo>
                    <a:lnTo>
                      <a:pt x="628585" y="358612"/>
                    </a:lnTo>
                    <a:lnTo>
                      <a:pt x="628006" y="361509"/>
                    </a:lnTo>
                    <a:lnTo>
                      <a:pt x="628006" y="363826"/>
                    </a:lnTo>
                    <a:lnTo>
                      <a:pt x="626847" y="368461"/>
                    </a:lnTo>
                    <a:lnTo>
                      <a:pt x="626268" y="373675"/>
                    </a:lnTo>
                    <a:lnTo>
                      <a:pt x="625109" y="378310"/>
                    </a:lnTo>
                    <a:lnTo>
                      <a:pt x="624530" y="383524"/>
                    </a:lnTo>
                    <a:lnTo>
                      <a:pt x="648862" y="397428"/>
                    </a:lnTo>
                    <a:lnTo>
                      <a:pt x="623950" y="442617"/>
                    </a:lnTo>
                    <a:lnTo>
                      <a:pt x="598459" y="428133"/>
                    </a:lnTo>
                    <a:lnTo>
                      <a:pt x="595562" y="431030"/>
                    </a:lnTo>
                    <a:lnTo>
                      <a:pt x="593245" y="433927"/>
                    </a:lnTo>
                    <a:lnTo>
                      <a:pt x="590348" y="436244"/>
                    </a:lnTo>
                    <a:lnTo>
                      <a:pt x="586872" y="438561"/>
                    </a:lnTo>
                    <a:lnTo>
                      <a:pt x="583976" y="440879"/>
                    </a:lnTo>
                    <a:lnTo>
                      <a:pt x="581079" y="443196"/>
                    </a:lnTo>
                    <a:lnTo>
                      <a:pt x="577603" y="444934"/>
                    </a:lnTo>
                    <a:lnTo>
                      <a:pt x="574127" y="447252"/>
                    </a:lnTo>
                    <a:lnTo>
                      <a:pt x="581658" y="475060"/>
                    </a:lnTo>
                    <a:lnTo>
                      <a:pt x="532414" y="488964"/>
                    </a:lnTo>
                    <a:lnTo>
                      <a:pt x="524303" y="461156"/>
                    </a:lnTo>
                    <a:lnTo>
                      <a:pt x="520248" y="461156"/>
                    </a:lnTo>
                    <a:lnTo>
                      <a:pt x="516193" y="461156"/>
                    </a:lnTo>
                    <a:lnTo>
                      <a:pt x="512137" y="460576"/>
                    </a:lnTo>
                    <a:lnTo>
                      <a:pt x="508661" y="459418"/>
                    </a:lnTo>
                    <a:lnTo>
                      <a:pt x="504606" y="459418"/>
                    </a:lnTo>
                    <a:lnTo>
                      <a:pt x="501130" y="458838"/>
                    </a:lnTo>
                    <a:lnTo>
                      <a:pt x="497654" y="457680"/>
                    </a:lnTo>
                    <a:lnTo>
                      <a:pt x="493598" y="457100"/>
                    </a:lnTo>
                    <a:lnTo>
                      <a:pt x="479694" y="480853"/>
                    </a:lnTo>
                    <a:lnTo>
                      <a:pt x="434505" y="455942"/>
                    </a:lnTo>
                    <a:lnTo>
                      <a:pt x="448989" y="431030"/>
                    </a:lnTo>
                    <a:lnTo>
                      <a:pt x="443195" y="425816"/>
                    </a:lnTo>
                    <a:lnTo>
                      <a:pt x="437981" y="419443"/>
                    </a:lnTo>
                    <a:lnTo>
                      <a:pt x="433347" y="413650"/>
                    </a:lnTo>
                    <a:lnTo>
                      <a:pt x="429291" y="407277"/>
                    </a:lnTo>
                    <a:lnTo>
                      <a:pt x="402062" y="414229"/>
                    </a:lnTo>
                    <a:lnTo>
                      <a:pt x="388158" y="364985"/>
                    </a:lnTo>
                    <a:lnTo>
                      <a:pt x="415966" y="356874"/>
                    </a:lnTo>
                    <a:lnTo>
                      <a:pt x="415966" y="349343"/>
                    </a:lnTo>
                    <a:lnTo>
                      <a:pt x="417125" y="341811"/>
                    </a:lnTo>
                    <a:lnTo>
                      <a:pt x="418284" y="333700"/>
                    </a:lnTo>
                    <a:lnTo>
                      <a:pt x="420022" y="326169"/>
                    </a:lnTo>
                    <a:lnTo>
                      <a:pt x="397427" y="314003"/>
                    </a:lnTo>
                    <a:lnTo>
                      <a:pt x="422919" y="268235"/>
                    </a:lnTo>
                    <a:lnTo>
                      <a:pt x="445513" y="281560"/>
                    </a:lnTo>
                    <a:lnTo>
                      <a:pt x="447830" y="279242"/>
                    </a:lnTo>
                    <a:lnTo>
                      <a:pt x="450727" y="276346"/>
                    </a:lnTo>
                    <a:lnTo>
                      <a:pt x="454203" y="274028"/>
                    </a:lnTo>
                    <a:lnTo>
                      <a:pt x="456520" y="271132"/>
                    </a:lnTo>
                    <a:lnTo>
                      <a:pt x="459996" y="269394"/>
                    </a:lnTo>
                    <a:lnTo>
                      <a:pt x="463472" y="267076"/>
                    </a:lnTo>
                    <a:lnTo>
                      <a:pt x="466949" y="265338"/>
                    </a:lnTo>
                    <a:lnTo>
                      <a:pt x="470425" y="263021"/>
                    </a:lnTo>
                    <a:lnTo>
                      <a:pt x="462314" y="235212"/>
                    </a:lnTo>
                    <a:close/>
                    <a:moveTo>
                      <a:pt x="209142" y="107608"/>
                    </a:moveTo>
                    <a:lnTo>
                      <a:pt x="188286" y="109922"/>
                    </a:lnTo>
                    <a:lnTo>
                      <a:pt x="169747" y="115707"/>
                    </a:lnTo>
                    <a:lnTo>
                      <a:pt x="152367" y="124964"/>
                    </a:lnTo>
                    <a:lnTo>
                      <a:pt x="137304" y="137113"/>
                    </a:lnTo>
                    <a:lnTo>
                      <a:pt x="125717" y="151576"/>
                    </a:lnTo>
                    <a:lnTo>
                      <a:pt x="116448" y="168932"/>
                    </a:lnTo>
                    <a:lnTo>
                      <a:pt x="110075" y="187446"/>
                    </a:lnTo>
                    <a:lnTo>
                      <a:pt x="108337" y="207694"/>
                    </a:lnTo>
                    <a:lnTo>
                      <a:pt x="110075" y="227365"/>
                    </a:lnTo>
                    <a:lnTo>
                      <a:pt x="116448" y="247035"/>
                    </a:lnTo>
                    <a:lnTo>
                      <a:pt x="125717" y="263234"/>
                    </a:lnTo>
                    <a:lnTo>
                      <a:pt x="137304" y="278854"/>
                    </a:lnTo>
                    <a:lnTo>
                      <a:pt x="152367" y="290425"/>
                    </a:lnTo>
                    <a:lnTo>
                      <a:pt x="169747" y="300260"/>
                    </a:lnTo>
                    <a:lnTo>
                      <a:pt x="188286" y="306045"/>
                    </a:lnTo>
                    <a:lnTo>
                      <a:pt x="209142" y="307781"/>
                    </a:lnTo>
                    <a:lnTo>
                      <a:pt x="228840" y="306045"/>
                    </a:lnTo>
                    <a:lnTo>
                      <a:pt x="247958" y="300260"/>
                    </a:lnTo>
                    <a:lnTo>
                      <a:pt x="265338" y="290425"/>
                    </a:lnTo>
                    <a:lnTo>
                      <a:pt x="279822" y="278854"/>
                    </a:lnTo>
                    <a:lnTo>
                      <a:pt x="291988" y="263234"/>
                    </a:lnTo>
                    <a:lnTo>
                      <a:pt x="301257" y="247035"/>
                    </a:lnTo>
                    <a:lnTo>
                      <a:pt x="307051" y="227365"/>
                    </a:lnTo>
                    <a:lnTo>
                      <a:pt x="309368" y="207694"/>
                    </a:lnTo>
                    <a:lnTo>
                      <a:pt x="309368" y="207116"/>
                    </a:lnTo>
                    <a:lnTo>
                      <a:pt x="309368" y="205959"/>
                    </a:lnTo>
                    <a:lnTo>
                      <a:pt x="309368" y="205380"/>
                    </a:lnTo>
                    <a:lnTo>
                      <a:pt x="305892" y="185131"/>
                    </a:lnTo>
                    <a:lnTo>
                      <a:pt x="300098" y="166040"/>
                    </a:lnTo>
                    <a:lnTo>
                      <a:pt x="289670" y="149841"/>
                    </a:lnTo>
                    <a:lnTo>
                      <a:pt x="278084" y="135956"/>
                    </a:lnTo>
                    <a:lnTo>
                      <a:pt x="263021" y="123807"/>
                    </a:lnTo>
                    <a:lnTo>
                      <a:pt x="246220" y="115129"/>
                    </a:lnTo>
                    <a:lnTo>
                      <a:pt x="228260" y="109922"/>
                    </a:lnTo>
                    <a:close/>
                    <a:moveTo>
                      <a:pt x="552395" y="94433"/>
                    </a:moveTo>
                    <a:lnTo>
                      <a:pt x="543676" y="96171"/>
                    </a:lnTo>
                    <a:lnTo>
                      <a:pt x="536120" y="98488"/>
                    </a:lnTo>
                    <a:lnTo>
                      <a:pt x="528563" y="102543"/>
                    </a:lnTo>
                    <a:lnTo>
                      <a:pt x="521588" y="107757"/>
                    </a:lnTo>
                    <a:lnTo>
                      <a:pt x="516357" y="114710"/>
                    </a:lnTo>
                    <a:lnTo>
                      <a:pt x="512869" y="122241"/>
                    </a:lnTo>
                    <a:lnTo>
                      <a:pt x="510544" y="130931"/>
                    </a:lnTo>
                    <a:lnTo>
                      <a:pt x="509963" y="139042"/>
                    </a:lnTo>
                    <a:lnTo>
                      <a:pt x="511125" y="147732"/>
                    </a:lnTo>
                    <a:lnTo>
                      <a:pt x="514032" y="156422"/>
                    </a:lnTo>
                    <a:lnTo>
                      <a:pt x="518100" y="163953"/>
                    </a:lnTo>
                    <a:lnTo>
                      <a:pt x="523913" y="170906"/>
                    </a:lnTo>
                    <a:lnTo>
                      <a:pt x="529726" y="176120"/>
                    </a:lnTo>
                    <a:lnTo>
                      <a:pt x="537863" y="179016"/>
                    </a:lnTo>
                    <a:lnTo>
                      <a:pt x="546001" y="181913"/>
                    </a:lnTo>
                    <a:lnTo>
                      <a:pt x="555301" y="182492"/>
                    </a:lnTo>
                    <a:lnTo>
                      <a:pt x="563439" y="181913"/>
                    </a:lnTo>
                    <a:lnTo>
                      <a:pt x="570996" y="179016"/>
                    </a:lnTo>
                    <a:lnTo>
                      <a:pt x="577971" y="176120"/>
                    </a:lnTo>
                    <a:lnTo>
                      <a:pt x="584365" y="170906"/>
                    </a:lnTo>
                    <a:lnTo>
                      <a:pt x="589596" y="165112"/>
                    </a:lnTo>
                    <a:lnTo>
                      <a:pt x="593665" y="158739"/>
                    </a:lnTo>
                    <a:lnTo>
                      <a:pt x="597153" y="150629"/>
                    </a:lnTo>
                    <a:lnTo>
                      <a:pt x="598315" y="142518"/>
                    </a:lnTo>
                    <a:lnTo>
                      <a:pt x="598315" y="141359"/>
                    </a:lnTo>
                    <a:lnTo>
                      <a:pt x="598896" y="140200"/>
                    </a:lnTo>
                    <a:lnTo>
                      <a:pt x="598896" y="138462"/>
                    </a:lnTo>
                    <a:lnTo>
                      <a:pt x="598896" y="137304"/>
                    </a:lnTo>
                    <a:lnTo>
                      <a:pt x="597734" y="128614"/>
                    </a:lnTo>
                    <a:lnTo>
                      <a:pt x="594827" y="120503"/>
                    </a:lnTo>
                    <a:lnTo>
                      <a:pt x="590177" y="113551"/>
                    </a:lnTo>
                    <a:lnTo>
                      <a:pt x="584946" y="106599"/>
                    </a:lnTo>
                    <a:lnTo>
                      <a:pt x="577971" y="101385"/>
                    </a:lnTo>
                    <a:lnTo>
                      <a:pt x="569833" y="97909"/>
                    </a:lnTo>
                    <a:lnTo>
                      <a:pt x="562277" y="95591"/>
                    </a:lnTo>
                    <a:close/>
                    <a:moveTo>
                      <a:pt x="550070" y="50982"/>
                    </a:moveTo>
                    <a:lnTo>
                      <a:pt x="583783" y="56196"/>
                    </a:lnTo>
                    <a:lnTo>
                      <a:pt x="580877" y="74156"/>
                    </a:lnTo>
                    <a:lnTo>
                      <a:pt x="585527" y="75894"/>
                    </a:lnTo>
                    <a:lnTo>
                      <a:pt x="589596" y="78790"/>
                    </a:lnTo>
                    <a:lnTo>
                      <a:pt x="594246" y="81108"/>
                    </a:lnTo>
                    <a:lnTo>
                      <a:pt x="598315" y="84584"/>
                    </a:lnTo>
                    <a:lnTo>
                      <a:pt x="613428" y="73576"/>
                    </a:lnTo>
                    <a:lnTo>
                      <a:pt x="633772" y="100805"/>
                    </a:lnTo>
                    <a:lnTo>
                      <a:pt x="618078" y="111813"/>
                    </a:lnTo>
                    <a:lnTo>
                      <a:pt x="620403" y="116448"/>
                    </a:lnTo>
                    <a:lnTo>
                      <a:pt x="621566" y="121082"/>
                    </a:lnTo>
                    <a:lnTo>
                      <a:pt x="622147" y="126876"/>
                    </a:lnTo>
                    <a:lnTo>
                      <a:pt x="623310" y="131510"/>
                    </a:lnTo>
                    <a:lnTo>
                      <a:pt x="641910" y="133828"/>
                    </a:lnTo>
                    <a:lnTo>
                      <a:pt x="640166" y="142518"/>
                    </a:lnTo>
                    <a:lnTo>
                      <a:pt x="636679" y="167429"/>
                    </a:lnTo>
                    <a:lnTo>
                      <a:pt x="617497" y="164533"/>
                    </a:lnTo>
                    <a:lnTo>
                      <a:pt x="615753" y="169167"/>
                    </a:lnTo>
                    <a:lnTo>
                      <a:pt x="612847" y="173223"/>
                    </a:lnTo>
                    <a:lnTo>
                      <a:pt x="610522" y="177858"/>
                    </a:lnTo>
                    <a:lnTo>
                      <a:pt x="607034" y="181913"/>
                    </a:lnTo>
                    <a:lnTo>
                      <a:pt x="618078" y="197555"/>
                    </a:lnTo>
                    <a:lnTo>
                      <a:pt x="590759" y="217253"/>
                    </a:lnTo>
                    <a:lnTo>
                      <a:pt x="579715" y="202190"/>
                    </a:lnTo>
                    <a:lnTo>
                      <a:pt x="575064" y="203349"/>
                    </a:lnTo>
                    <a:lnTo>
                      <a:pt x="569833" y="204507"/>
                    </a:lnTo>
                    <a:lnTo>
                      <a:pt x="564602" y="205666"/>
                    </a:lnTo>
                    <a:lnTo>
                      <a:pt x="559952" y="206825"/>
                    </a:lnTo>
                    <a:lnTo>
                      <a:pt x="556464" y="224784"/>
                    </a:lnTo>
                    <a:lnTo>
                      <a:pt x="523332" y="218991"/>
                    </a:lnTo>
                    <a:lnTo>
                      <a:pt x="526819" y="201031"/>
                    </a:lnTo>
                    <a:lnTo>
                      <a:pt x="521588" y="199293"/>
                    </a:lnTo>
                    <a:lnTo>
                      <a:pt x="516938" y="196396"/>
                    </a:lnTo>
                    <a:lnTo>
                      <a:pt x="512869" y="194079"/>
                    </a:lnTo>
                    <a:lnTo>
                      <a:pt x="509381" y="190603"/>
                    </a:lnTo>
                    <a:lnTo>
                      <a:pt x="493687" y="202190"/>
                    </a:lnTo>
                    <a:lnTo>
                      <a:pt x="473343" y="174382"/>
                    </a:lnTo>
                    <a:lnTo>
                      <a:pt x="489037" y="163374"/>
                    </a:lnTo>
                    <a:lnTo>
                      <a:pt x="487293" y="158160"/>
                    </a:lnTo>
                    <a:lnTo>
                      <a:pt x="485550" y="153525"/>
                    </a:lnTo>
                    <a:lnTo>
                      <a:pt x="484968" y="147732"/>
                    </a:lnTo>
                    <a:lnTo>
                      <a:pt x="484387" y="143097"/>
                    </a:lnTo>
                    <a:lnTo>
                      <a:pt x="466949" y="140780"/>
                    </a:lnTo>
                    <a:lnTo>
                      <a:pt x="472180" y="107757"/>
                    </a:lnTo>
                    <a:lnTo>
                      <a:pt x="489618" y="110654"/>
                    </a:lnTo>
                    <a:lnTo>
                      <a:pt x="491943" y="106019"/>
                    </a:lnTo>
                    <a:lnTo>
                      <a:pt x="493687" y="101964"/>
                    </a:lnTo>
                    <a:lnTo>
                      <a:pt x="497175" y="97329"/>
                    </a:lnTo>
                    <a:lnTo>
                      <a:pt x="499500" y="93274"/>
                    </a:lnTo>
                    <a:lnTo>
                      <a:pt x="489037" y="78211"/>
                    </a:lnTo>
                    <a:lnTo>
                      <a:pt x="516357" y="57934"/>
                    </a:lnTo>
                    <a:lnTo>
                      <a:pt x="527401" y="73576"/>
                    </a:lnTo>
                    <a:lnTo>
                      <a:pt x="529726" y="72418"/>
                    </a:lnTo>
                    <a:lnTo>
                      <a:pt x="532632" y="71259"/>
                    </a:lnTo>
                    <a:lnTo>
                      <a:pt x="534376" y="70680"/>
                    </a:lnTo>
                    <a:lnTo>
                      <a:pt x="537282" y="70100"/>
                    </a:lnTo>
                    <a:lnTo>
                      <a:pt x="540188" y="70100"/>
                    </a:lnTo>
                    <a:lnTo>
                      <a:pt x="542514" y="69521"/>
                    </a:lnTo>
                    <a:lnTo>
                      <a:pt x="544839" y="68942"/>
                    </a:lnTo>
                    <a:lnTo>
                      <a:pt x="547164" y="68942"/>
                    </a:lnTo>
                    <a:close/>
                    <a:moveTo>
                      <a:pt x="167430" y="0"/>
                    </a:moveTo>
                    <a:lnTo>
                      <a:pt x="249696" y="0"/>
                    </a:lnTo>
                    <a:lnTo>
                      <a:pt x="249696" y="45126"/>
                    </a:lnTo>
                    <a:lnTo>
                      <a:pt x="256069" y="47440"/>
                    </a:lnTo>
                    <a:lnTo>
                      <a:pt x="261862" y="49176"/>
                    </a:lnTo>
                    <a:lnTo>
                      <a:pt x="267655" y="51490"/>
                    </a:lnTo>
                    <a:lnTo>
                      <a:pt x="272869" y="53225"/>
                    </a:lnTo>
                    <a:lnTo>
                      <a:pt x="279242" y="56118"/>
                    </a:lnTo>
                    <a:lnTo>
                      <a:pt x="284456" y="58432"/>
                    </a:lnTo>
                    <a:lnTo>
                      <a:pt x="289670" y="61325"/>
                    </a:lnTo>
                    <a:lnTo>
                      <a:pt x="295464" y="64796"/>
                    </a:lnTo>
                    <a:lnTo>
                      <a:pt x="326748" y="32977"/>
                    </a:lnTo>
                    <a:lnTo>
                      <a:pt x="384103" y="91409"/>
                    </a:lnTo>
                    <a:lnTo>
                      <a:pt x="353398" y="121493"/>
                    </a:lnTo>
                    <a:lnTo>
                      <a:pt x="359191" y="132485"/>
                    </a:lnTo>
                    <a:lnTo>
                      <a:pt x="363826" y="142898"/>
                    </a:lnTo>
                    <a:lnTo>
                      <a:pt x="368461" y="155048"/>
                    </a:lnTo>
                    <a:lnTo>
                      <a:pt x="371937" y="167197"/>
                    </a:lnTo>
                    <a:lnTo>
                      <a:pt x="418284" y="167197"/>
                    </a:lnTo>
                    <a:lnTo>
                      <a:pt x="418284" y="205380"/>
                    </a:lnTo>
                    <a:lnTo>
                      <a:pt x="418284" y="248192"/>
                    </a:lnTo>
                    <a:lnTo>
                      <a:pt x="371937" y="248192"/>
                    </a:lnTo>
                    <a:lnTo>
                      <a:pt x="368461" y="260341"/>
                    </a:lnTo>
                    <a:lnTo>
                      <a:pt x="363826" y="271333"/>
                    </a:lnTo>
                    <a:lnTo>
                      <a:pt x="359191" y="282904"/>
                    </a:lnTo>
                    <a:lnTo>
                      <a:pt x="353398" y="293318"/>
                    </a:lnTo>
                    <a:lnTo>
                      <a:pt x="385262" y="325716"/>
                    </a:lnTo>
                    <a:lnTo>
                      <a:pt x="327907" y="383569"/>
                    </a:lnTo>
                    <a:lnTo>
                      <a:pt x="295464" y="351171"/>
                    </a:lnTo>
                    <a:lnTo>
                      <a:pt x="289670" y="354642"/>
                    </a:lnTo>
                    <a:lnTo>
                      <a:pt x="284456" y="356957"/>
                    </a:lnTo>
                    <a:lnTo>
                      <a:pt x="279242" y="359849"/>
                    </a:lnTo>
                    <a:lnTo>
                      <a:pt x="272869" y="362742"/>
                    </a:lnTo>
                    <a:lnTo>
                      <a:pt x="267655" y="364477"/>
                    </a:lnTo>
                    <a:lnTo>
                      <a:pt x="261862" y="366792"/>
                    </a:lnTo>
                    <a:lnTo>
                      <a:pt x="256069" y="368527"/>
                    </a:lnTo>
                    <a:lnTo>
                      <a:pt x="249696" y="369684"/>
                    </a:lnTo>
                    <a:lnTo>
                      <a:pt x="249696" y="415967"/>
                    </a:lnTo>
                    <a:lnTo>
                      <a:pt x="167430" y="415967"/>
                    </a:lnTo>
                    <a:lnTo>
                      <a:pt x="167430" y="369684"/>
                    </a:lnTo>
                    <a:lnTo>
                      <a:pt x="161636" y="368527"/>
                    </a:lnTo>
                    <a:lnTo>
                      <a:pt x="155843" y="366792"/>
                    </a:lnTo>
                    <a:lnTo>
                      <a:pt x="149470" y="364477"/>
                    </a:lnTo>
                    <a:lnTo>
                      <a:pt x="144256" y="362742"/>
                    </a:lnTo>
                    <a:lnTo>
                      <a:pt x="138463" y="359849"/>
                    </a:lnTo>
                    <a:lnTo>
                      <a:pt x="132669" y="356957"/>
                    </a:lnTo>
                    <a:lnTo>
                      <a:pt x="127455" y="354642"/>
                    </a:lnTo>
                    <a:lnTo>
                      <a:pt x="122241" y="351171"/>
                    </a:lnTo>
                    <a:lnTo>
                      <a:pt x="91536" y="382412"/>
                    </a:lnTo>
                    <a:lnTo>
                      <a:pt x="34181" y="324559"/>
                    </a:lnTo>
                    <a:lnTo>
                      <a:pt x="64886" y="293318"/>
                    </a:lnTo>
                    <a:lnTo>
                      <a:pt x="58514" y="282904"/>
                    </a:lnTo>
                    <a:lnTo>
                      <a:pt x="53879" y="271333"/>
                    </a:lnTo>
                    <a:lnTo>
                      <a:pt x="49244" y="260341"/>
                    </a:lnTo>
                    <a:lnTo>
                      <a:pt x="46348" y="248192"/>
                    </a:lnTo>
                    <a:lnTo>
                      <a:pt x="0" y="248192"/>
                    </a:lnTo>
                    <a:lnTo>
                      <a:pt x="0" y="167197"/>
                    </a:lnTo>
                    <a:lnTo>
                      <a:pt x="46348" y="167197"/>
                    </a:lnTo>
                    <a:lnTo>
                      <a:pt x="49244" y="155048"/>
                    </a:lnTo>
                    <a:lnTo>
                      <a:pt x="53879" y="142898"/>
                    </a:lnTo>
                    <a:lnTo>
                      <a:pt x="58514" y="132485"/>
                    </a:lnTo>
                    <a:lnTo>
                      <a:pt x="64886" y="121493"/>
                    </a:lnTo>
                    <a:lnTo>
                      <a:pt x="35340" y="92566"/>
                    </a:lnTo>
                    <a:lnTo>
                      <a:pt x="93274" y="34712"/>
                    </a:lnTo>
                    <a:lnTo>
                      <a:pt x="122241" y="64796"/>
                    </a:lnTo>
                    <a:lnTo>
                      <a:pt x="127455" y="61325"/>
                    </a:lnTo>
                    <a:lnTo>
                      <a:pt x="132669" y="58432"/>
                    </a:lnTo>
                    <a:lnTo>
                      <a:pt x="138463" y="56118"/>
                    </a:lnTo>
                    <a:lnTo>
                      <a:pt x="144256" y="53225"/>
                    </a:lnTo>
                    <a:lnTo>
                      <a:pt x="149470" y="51490"/>
                    </a:lnTo>
                    <a:lnTo>
                      <a:pt x="155843" y="49176"/>
                    </a:lnTo>
                    <a:lnTo>
                      <a:pt x="161636" y="47440"/>
                    </a:lnTo>
                    <a:lnTo>
                      <a:pt x="167430" y="4512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278" name="Freeform 277"/>
            <p:cNvSpPr>
              <a:spLocks/>
            </p:cNvSpPr>
            <p:nvPr/>
          </p:nvSpPr>
          <p:spPr bwMode="auto">
            <a:xfrm flipH="1">
              <a:off x="11282457" y="6770612"/>
              <a:ext cx="262128" cy="146354"/>
            </a:xfrm>
            <a:custGeom>
              <a:avLst/>
              <a:gdLst>
                <a:gd name="T0" fmla="*/ 120 w 120"/>
                <a:gd name="T1" fmla="*/ 51 h 67"/>
                <a:gd name="T2" fmla="*/ 68 w 120"/>
                <a:gd name="T3" fmla="*/ 0 h 67"/>
                <a:gd name="T4" fmla="*/ 0 w 120"/>
                <a:gd name="T5" fmla="*/ 0 h 67"/>
                <a:gd name="T6" fmla="*/ 0 w 120"/>
                <a:gd name="T7" fmla="*/ 67 h 67"/>
                <a:gd name="T8" fmla="*/ 120 w 120"/>
                <a:gd name="T9" fmla="*/ 67 h 67"/>
                <a:gd name="T10" fmla="*/ 120 w 120"/>
                <a:gd name="T11" fmla="*/ 51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67">
                  <a:moveTo>
                    <a:pt x="120" y="51"/>
                  </a:moveTo>
                  <a:lnTo>
                    <a:pt x="68" y="0"/>
                  </a:lnTo>
                  <a:lnTo>
                    <a:pt x="0" y="0"/>
                  </a:lnTo>
                  <a:lnTo>
                    <a:pt x="0" y="67"/>
                  </a:lnTo>
                  <a:lnTo>
                    <a:pt x="120" y="67"/>
                  </a:lnTo>
                  <a:lnTo>
                    <a:pt x="120" y="51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9" name="Rectangle 278"/>
            <p:cNvSpPr>
              <a:spLocks noChangeArrowheads="1"/>
            </p:cNvSpPr>
            <p:nvPr/>
          </p:nvSpPr>
          <p:spPr bwMode="auto">
            <a:xfrm flipH="1">
              <a:off x="11398229" y="5816033"/>
              <a:ext cx="146354" cy="95457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0" name="Rectangle 279"/>
            <p:cNvSpPr>
              <a:spLocks noChangeArrowheads="1"/>
            </p:cNvSpPr>
            <p:nvPr/>
          </p:nvSpPr>
          <p:spPr bwMode="auto">
            <a:xfrm flipH="1">
              <a:off x="11625406" y="5816033"/>
              <a:ext cx="146354" cy="95457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1" name="Freeform 280"/>
            <p:cNvSpPr>
              <a:spLocks/>
            </p:cNvSpPr>
            <p:nvPr/>
          </p:nvSpPr>
          <p:spPr bwMode="auto">
            <a:xfrm flipH="1">
              <a:off x="11511816" y="6770612"/>
              <a:ext cx="259944" cy="146354"/>
            </a:xfrm>
            <a:custGeom>
              <a:avLst/>
              <a:gdLst>
                <a:gd name="T0" fmla="*/ 119 w 119"/>
                <a:gd name="T1" fmla="*/ 51 h 67"/>
                <a:gd name="T2" fmla="*/ 68 w 119"/>
                <a:gd name="T3" fmla="*/ 0 h 67"/>
                <a:gd name="T4" fmla="*/ 0 w 119"/>
                <a:gd name="T5" fmla="*/ 0 h 67"/>
                <a:gd name="T6" fmla="*/ 0 w 119"/>
                <a:gd name="T7" fmla="*/ 67 h 67"/>
                <a:gd name="T8" fmla="*/ 119 w 119"/>
                <a:gd name="T9" fmla="*/ 67 h 67"/>
                <a:gd name="T10" fmla="*/ 119 w 119"/>
                <a:gd name="T11" fmla="*/ 51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" h="67">
                  <a:moveTo>
                    <a:pt x="119" y="51"/>
                  </a:moveTo>
                  <a:lnTo>
                    <a:pt x="68" y="0"/>
                  </a:lnTo>
                  <a:lnTo>
                    <a:pt x="0" y="0"/>
                  </a:lnTo>
                  <a:lnTo>
                    <a:pt x="0" y="67"/>
                  </a:lnTo>
                  <a:lnTo>
                    <a:pt x="119" y="67"/>
                  </a:lnTo>
                  <a:lnTo>
                    <a:pt x="119" y="51"/>
                  </a:ln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2" name="Rectangle 281"/>
            <p:cNvSpPr>
              <a:spLocks noChangeArrowheads="1"/>
            </p:cNvSpPr>
            <p:nvPr/>
          </p:nvSpPr>
          <p:spPr bwMode="auto">
            <a:xfrm flipH="1">
              <a:off x="11313038" y="4767528"/>
              <a:ext cx="535176" cy="1090008"/>
            </a:xfrm>
            <a:prstGeom prst="rect">
              <a:avLst/>
            </a:prstGeom>
            <a:solidFill>
              <a:srgbClr val="5C2D9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3" name="Rectangle 282"/>
            <p:cNvSpPr>
              <a:spLocks noChangeArrowheads="1"/>
            </p:cNvSpPr>
            <p:nvPr/>
          </p:nvSpPr>
          <p:spPr bwMode="auto">
            <a:xfrm flipH="1">
              <a:off x="11313038" y="4767528"/>
              <a:ext cx="535176" cy="1090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4" name="Freeform 283"/>
            <p:cNvSpPr>
              <a:spLocks/>
            </p:cNvSpPr>
            <p:nvPr/>
          </p:nvSpPr>
          <p:spPr bwMode="auto">
            <a:xfrm flipH="1">
              <a:off x="11450653" y="4597147"/>
              <a:ext cx="139801" cy="170381"/>
            </a:xfrm>
            <a:custGeom>
              <a:avLst/>
              <a:gdLst>
                <a:gd name="T0" fmla="*/ 73 w 73"/>
                <a:gd name="T1" fmla="*/ 8 h 88"/>
                <a:gd name="T2" fmla="*/ 49 w 73"/>
                <a:gd name="T3" fmla="*/ 0 h 88"/>
                <a:gd name="T4" fmla="*/ 42 w 73"/>
                <a:gd name="T5" fmla="*/ 19 h 88"/>
                <a:gd name="T6" fmla="*/ 0 w 73"/>
                <a:gd name="T7" fmla="*/ 8 h 88"/>
                <a:gd name="T8" fmla="*/ 0 w 73"/>
                <a:gd name="T9" fmla="*/ 88 h 88"/>
                <a:gd name="T10" fmla="*/ 50 w 73"/>
                <a:gd name="T11" fmla="*/ 88 h 88"/>
                <a:gd name="T12" fmla="*/ 50 w 73"/>
                <a:gd name="T13" fmla="*/ 49 h 88"/>
                <a:gd name="T14" fmla="*/ 73 w 73"/>
                <a:gd name="T15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88">
                  <a:moveTo>
                    <a:pt x="73" y="8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51" y="36"/>
                    <a:pt x="55" y="14"/>
                    <a:pt x="73" y="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Freeform 284"/>
            <p:cNvSpPr>
              <a:spLocks/>
            </p:cNvSpPr>
            <p:nvPr/>
          </p:nvSpPr>
          <p:spPr bwMode="auto">
            <a:xfrm flipH="1">
              <a:off x="11372014" y="4966308"/>
              <a:ext cx="72086" cy="50243"/>
            </a:xfrm>
            <a:custGeom>
              <a:avLst/>
              <a:gdLst>
                <a:gd name="T0" fmla="*/ 0 w 33"/>
                <a:gd name="T1" fmla="*/ 23 h 23"/>
                <a:gd name="T2" fmla="*/ 17 w 33"/>
                <a:gd name="T3" fmla="*/ 0 h 23"/>
                <a:gd name="T4" fmla="*/ 33 w 33"/>
                <a:gd name="T5" fmla="*/ 23 h 23"/>
                <a:gd name="T6" fmla="*/ 0 w 33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3">
                  <a:moveTo>
                    <a:pt x="0" y="23"/>
                  </a:moveTo>
                  <a:lnTo>
                    <a:pt x="17" y="0"/>
                  </a:lnTo>
                  <a:lnTo>
                    <a:pt x="33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6" name="Freeform 285"/>
            <p:cNvSpPr>
              <a:spLocks/>
            </p:cNvSpPr>
            <p:nvPr/>
          </p:nvSpPr>
          <p:spPr bwMode="auto">
            <a:xfrm flipH="1">
              <a:off x="11334880" y="4966308"/>
              <a:ext cx="72086" cy="50243"/>
            </a:xfrm>
            <a:custGeom>
              <a:avLst/>
              <a:gdLst>
                <a:gd name="T0" fmla="*/ 0 w 33"/>
                <a:gd name="T1" fmla="*/ 23 h 23"/>
                <a:gd name="T2" fmla="*/ 17 w 33"/>
                <a:gd name="T3" fmla="*/ 0 h 23"/>
                <a:gd name="T4" fmla="*/ 33 w 33"/>
                <a:gd name="T5" fmla="*/ 23 h 23"/>
                <a:gd name="T6" fmla="*/ 0 w 33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3">
                  <a:moveTo>
                    <a:pt x="0" y="23"/>
                  </a:moveTo>
                  <a:lnTo>
                    <a:pt x="17" y="0"/>
                  </a:lnTo>
                  <a:lnTo>
                    <a:pt x="33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7" name="Freeform 286"/>
            <p:cNvSpPr>
              <a:spLocks/>
            </p:cNvSpPr>
            <p:nvPr/>
          </p:nvSpPr>
          <p:spPr bwMode="auto">
            <a:xfrm flipH="1">
              <a:off x="11483420" y="4765344"/>
              <a:ext cx="117957" cy="45873"/>
            </a:xfrm>
            <a:custGeom>
              <a:avLst/>
              <a:gdLst>
                <a:gd name="T0" fmla="*/ 54 w 54"/>
                <a:gd name="T1" fmla="*/ 0 h 21"/>
                <a:gd name="T2" fmla="*/ 26 w 54"/>
                <a:gd name="T3" fmla="*/ 21 h 21"/>
                <a:gd name="T4" fmla="*/ 0 w 54"/>
                <a:gd name="T5" fmla="*/ 0 h 21"/>
                <a:gd name="T6" fmla="*/ 54 w 54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21">
                  <a:moveTo>
                    <a:pt x="54" y="0"/>
                  </a:moveTo>
                  <a:lnTo>
                    <a:pt x="26" y="21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8" name="Freeform 287"/>
            <p:cNvSpPr>
              <a:spLocks/>
            </p:cNvSpPr>
            <p:nvPr/>
          </p:nvSpPr>
          <p:spPr bwMode="auto">
            <a:xfrm flipH="1">
              <a:off x="11483420" y="4765344"/>
              <a:ext cx="117957" cy="45873"/>
            </a:xfrm>
            <a:custGeom>
              <a:avLst/>
              <a:gdLst>
                <a:gd name="T0" fmla="*/ 54 w 54"/>
                <a:gd name="T1" fmla="*/ 0 h 21"/>
                <a:gd name="T2" fmla="*/ 26 w 54"/>
                <a:gd name="T3" fmla="*/ 21 h 21"/>
                <a:gd name="T4" fmla="*/ 0 w 54"/>
                <a:gd name="T5" fmla="*/ 0 h 21"/>
                <a:gd name="T6" fmla="*/ 54 w 54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21">
                  <a:moveTo>
                    <a:pt x="54" y="0"/>
                  </a:moveTo>
                  <a:lnTo>
                    <a:pt x="26" y="21"/>
                  </a:lnTo>
                  <a:lnTo>
                    <a:pt x="0" y="0"/>
                  </a:lnTo>
                  <a:lnTo>
                    <a:pt x="5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9" name="Freeform 288"/>
            <p:cNvSpPr>
              <a:spLocks/>
            </p:cNvSpPr>
            <p:nvPr/>
          </p:nvSpPr>
          <p:spPr bwMode="auto">
            <a:xfrm flipH="1">
              <a:off x="11483420" y="4811217"/>
              <a:ext cx="117957" cy="436878"/>
            </a:xfrm>
            <a:custGeom>
              <a:avLst/>
              <a:gdLst>
                <a:gd name="T0" fmla="*/ 54 w 54"/>
                <a:gd name="T1" fmla="*/ 0 h 200"/>
                <a:gd name="T2" fmla="*/ 26 w 54"/>
                <a:gd name="T3" fmla="*/ 0 h 200"/>
                <a:gd name="T4" fmla="*/ 0 w 54"/>
                <a:gd name="T5" fmla="*/ 0 h 200"/>
                <a:gd name="T6" fmla="*/ 28 w 54"/>
                <a:gd name="T7" fmla="*/ 200 h 200"/>
                <a:gd name="T8" fmla="*/ 54 w 54"/>
                <a:gd name="T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00">
                  <a:moveTo>
                    <a:pt x="54" y="0"/>
                  </a:moveTo>
                  <a:lnTo>
                    <a:pt x="26" y="0"/>
                  </a:lnTo>
                  <a:lnTo>
                    <a:pt x="0" y="0"/>
                  </a:lnTo>
                  <a:lnTo>
                    <a:pt x="28" y="20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E5D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0" name="Freeform 289"/>
            <p:cNvSpPr>
              <a:spLocks/>
            </p:cNvSpPr>
            <p:nvPr/>
          </p:nvSpPr>
          <p:spPr bwMode="auto">
            <a:xfrm flipH="1">
              <a:off x="11483420" y="4811217"/>
              <a:ext cx="117957" cy="436878"/>
            </a:xfrm>
            <a:custGeom>
              <a:avLst/>
              <a:gdLst>
                <a:gd name="T0" fmla="*/ 54 w 54"/>
                <a:gd name="T1" fmla="*/ 0 h 200"/>
                <a:gd name="T2" fmla="*/ 26 w 54"/>
                <a:gd name="T3" fmla="*/ 0 h 200"/>
                <a:gd name="T4" fmla="*/ 0 w 54"/>
                <a:gd name="T5" fmla="*/ 0 h 200"/>
                <a:gd name="T6" fmla="*/ 28 w 54"/>
                <a:gd name="T7" fmla="*/ 200 h 200"/>
                <a:gd name="T8" fmla="*/ 54 w 54"/>
                <a:gd name="T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00">
                  <a:moveTo>
                    <a:pt x="54" y="0"/>
                  </a:moveTo>
                  <a:lnTo>
                    <a:pt x="26" y="0"/>
                  </a:lnTo>
                  <a:lnTo>
                    <a:pt x="0" y="0"/>
                  </a:lnTo>
                  <a:lnTo>
                    <a:pt x="28" y="200"/>
                  </a:lnTo>
                  <a:lnTo>
                    <a:pt x="5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Freeform 290"/>
            <p:cNvSpPr>
              <a:spLocks/>
            </p:cNvSpPr>
            <p:nvPr/>
          </p:nvSpPr>
          <p:spPr bwMode="auto">
            <a:xfrm flipH="1">
              <a:off x="11514000" y="4811217"/>
              <a:ext cx="56794" cy="83007"/>
            </a:xfrm>
            <a:custGeom>
              <a:avLst/>
              <a:gdLst>
                <a:gd name="T0" fmla="*/ 0 w 26"/>
                <a:gd name="T1" fmla="*/ 24 h 38"/>
                <a:gd name="T2" fmla="*/ 3 w 26"/>
                <a:gd name="T3" fmla="*/ 38 h 38"/>
                <a:gd name="T4" fmla="*/ 21 w 26"/>
                <a:gd name="T5" fmla="*/ 38 h 38"/>
                <a:gd name="T6" fmla="*/ 26 w 26"/>
                <a:gd name="T7" fmla="*/ 18 h 38"/>
                <a:gd name="T8" fmla="*/ 12 w 26"/>
                <a:gd name="T9" fmla="*/ 0 h 38"/>
                <a:gd name="T10" fmla="*/ 0 w 26"/>
                <a:gd name="T11" fmla="*/ 2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8">
                  <a:moveTo>
                    <a:pt x="0" y="24"/>
                  </a:moveTo>
                  <a:lnTo>
                    <a:pt x="3" y="38"/>
                  </a:lnTo>
                  <a:lnTo>
                    <a:pt x="21" y="38"/>
                  </a:lnTo>
                  <a:lnTo>
                    <a:pt x="26" y="18"/>
                  </a:lnTo>
                  <a:lnTo>
                    <a:pt x="12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B4009E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2" name="Freeform 291"/>
            <p:cNvSpPr>
              <a:spLocks/>
            </p:cNvSpPr>
            <p:nvPr/>
          </p:nvSpPr>
          <p:spPr bwMode="auto">
            <a:xfrm flipH="1">
              <a:off x="11507447" y="4894224"/>
              <a:ext cx="72086" cy="353871"/>
            </a:xfrm>
            <a:custGeom>
              <a:avLst/>
              <a:gdLst>
                <a:gd name="T0" fmla="*/ 25 w 33"/>
                <a:gd name="T1" fmla="*/ 0 h 162"/>
                <a:gd name="T2" fmla="*/ 7 w 33"/>
                <a:gd name="T3" fmla="*/ 0 h 162"/>
                <a:gd name="T4" fmla="*/ 0 w 33"/>
                <a:gd name="T5" fmla="*/ 40 h 162"/>
                <a:gd name="T6" fmla="*/ 18 w 33"/>
                <a:gd name="T7" fmla="*/ 162 h 162"/>
                <a:gd name="T8" fmla="*/ 33 w 33"/>
                <a:gd name="T9" fmla="*/ 47 h 162"/>
                <a:gd name="T10" fmla="*/ 25 w 33"/>
                <a:gd name="T11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62">
                  <a:moveTo>
                    <a:pt x="25" y="0"/>
                  </a:moveTo>
                  <a:lnTo>
                    <a:pt x="7" y="0"/>
                  </a:lnTo>
                  <a:lnTo>
                    <a:pt x="0" y="40"/>
                  </a:lnTo>
                  <a:lnTo>
                    <a:pt x="18" y="162"/>
                  </a:lnTo>
                  <a:lnTo>
                    <a:pt x="33" y="47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B4009E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Freeform 292"/>
            <p:cNvSpPr>
              <a:spLocks/>
            </p:cNvSpPr>
            <p:nvPr/>
          </p:nvSpPr>
          <p:spPr bwMode="auto">
            <a:xfrm flipH="1">
              <a:off x="11542397" y="4765344"/>
              <a:ext cx="58980" cy="113588"/>
            </a:xfrm>
            <a:custGeom>
              <a:avLst/>
              <a:gdLst>
                <a:gd name="T0" fmla="*/ 27 w 27"/>
                <a:gd name="T1" fmla="*/ 21 h 52"/>
                <a:gd name="T2" fmla="*/ 9 w 27"/>
                <a:gd name="T3" fmla="*/ 52 h 52"/>
                <a:gd name="T4" fmla="*/ 0 w 27"/>
                <a:gd name="T5" fmla="*/ 21 h 52"/>
                <a:gd name="T6" fmla="*/ 0 w 27"/>
                <a:gd name="T7" fmla="*/ 0 h 52"/>
                <a:gd name="T8" fmla="*/ 27 w 27"/>
                <a:gd name="T9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2">
                  <a:moveTo>
                    <a:pt x="27" y="21"/>
                  </a:moveTo>
                  <a:lnTo>
                    <a:pt x="9" y="52"/>
                  </a:lnTo>
                  <a:lnTo>
                    <a:pt x="0" y="21"/>
                  </a:lnTo>
                  <a:lnTo>
                    <a:pt x="0" y="0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4" name="Freeform 293"/>
            <p:cNvSpPr>
              <a:spLocks/>
            </p:cNvSpPr>
            <p:nvPr/>
          </p:nvSpPr>
          <p:spPr bwMode="auto">
            <a:xfrm flipH="1">
              <a:off x="11483420" y="4765344"/>
              <a:ext cx="61163" cy="113588"/>
            </a:xfrm>
            <a:custGeom>
              <a:avLst/>
              <a:gdLst>
                <a:gd name="T0" fmla="*/ 0 w 28"/>
                <a:gd name="T1" fmla="*/ 21 h 52"/>
                <a:gd name="T2" fmla="*/ 20 w 28"/>
                <a:gd name="T3" fmla="*/ 52 h 52"/>
                <a:gd name="T4" fmla="*/ 28 w 28"/>
                <a:gd name="T5" fmla="*/ 21 h 52"/>
                <a:gd name="T6" fmla="*/ 28 w 28"/>
                <a:gd name="T7" fmla="*/ 0 h 52"/>
                <a:gd name="T8" fmla="*/ 0 w 28"/>
                <a:gd name="T9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52">
                  <a:moveTo>
                    <a:pt x="0" y="21"/>
                  </a:moveTo>
                  <a:lnTo>
                    <a:pt x="20" y="52"/>
                  </a:lnTo>
                  <a:lnTo>
                    <a:pt x="28" y="21"/>
                  </a:lnTo>
                  <a:lnTo>
                    <a:pt x="28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95" name="Group 294"/>
            <p:cNvGrpSpPr/>
            <p:nvPr/>
          </p:nvGrpSpPr>
          <p:grpSpPr>
            <a:xfrm rot="19962258">
              <a:off x="11294674" y="4194469"/>
              <a:ext cx="474013" cy="465275"/>
              <a:chOff x="8635531" y="2114924"/>
              <a:chExt cx="232692" cy="228403"/>
            </a:xfrm>
          </p:grpSpPr>
          <p:sp>
            <p:nvSpPr>
              <p:cNvPr id="302" name="Freeform 301"/>
              <p:cNvSpPr>
                <a:spLocks/>
              </p:cNvSpPr>
              <p:nvPr/>
            </p:nvSpPr>
            <p:spPr bwMode="auto">
              <a:xfrm flipH="1">
                <a:off x="8641965" y="2194275"/>
                <a:ext cx="49326" cy="71845"/>
              </a:xfrm>
              <a:custGeom>
                <a:avLst/>
                <a:gdLst>
                  <a:gd name="T0" fmla="*/ 0 w 46"/>
                  <a:gd name="T1" fmla="*/ 0 h 67"/>
                  <a:gd name="T2" fmla="*/ 46 w 46"/>
                  <a:gd name="T3" fmla="*/ 51 h 67"/>
                  <a:gd name="T4" fmla="*/ 13 w 46"/>
                  <a:gd name="T5" fmla="*/ 67 h 67"/>
                  <a:gd name="T6" fmla="*/ 0 w 46"/>
                  <a:gd name="T7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67">
                    <a:moveTo>
                      <a:pt x="0" y="0"/>
                    </a:moveTo>
                    <a:lnTo>
                      <a:pt x="46" y="51"/>
                    </a:lnTo>
                    <a:lnTo>
                      <a:pt x="13" y="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A8D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3" name="Freeform 302"/>
              <p:cNvSpPr>
                <a:spLocks/>
              </p:cNvSpPr>
              <p:nvPr/>
            </p:nvSpPr>
            <p:spPr bwMode="auto">
              <a:xfrm flipH="1">
                <a:off x="8707376" y="2218939"/>
                <a:ext cx="11796" cy="11796"/>
              </a:xfrm>
              <a:custGeom>
                <a:avLst/>
                <a:gdLst>
                  <a:gd name="T0" fmla="*/ 11 w 12"/>
                  <a:gd name="T1" fmla="*/ 3 h 12"/>
                  <a:gd name="T2" fmla="*/ 9 w 12"/>
                  <a:gd name="T3" fmla="*/ 10 h 12"/>
                  <a:gd name="T4" fmla="*/ 2 w 12"/>
                  <a:gd name="T5" fmla="*/ 8 h 12"/>
                  <a:gd name="T6" fmla="*/ 4 w 12"/>
                  <a:gd name="T7" fmla="*/ 1 h 12"/>
                  <a:gd name="T8" fmla="*/ 11 w 12"/>
                  <a:gd name="T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1" y="3"/>
                    </a:moveTo>
                    <a:cubicBezTo>
                      <a:pt x="12" y="6"/>
                      <a:pt x="11" y="9"/>
                      <a:pt x="9" y="10"/>
                    </a:cubicBezTo>
                    <a:cubicBezTo>
                      <a:pt x="6" y="12"/>
                      <a:pt x="3" y="11"/>
                      <a:pt x="2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7" y="0"/>
                      <a:pt x="10" y="1"/>
                      <a:pt x="11" y="3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4" name="Freeform 303"/>
              <p:cNvSpPr>
                <a:spLocks/>
              </p:cNvSpPr>
              <p:nvPr/>
            </p:nvSpPr>
            <p:spPr bwMode="auto">
              <a:xfrm flipH="1">
                <a:off x="8641965" y="2194275"/>
                <a:ext cx="49326" cy="71845"/>
              </a:xfrm>
              <a:custGeom>
                <a:avLst/>
                <a:gdLst>
                  <a:gd name="T0" fmla="*/ 0 w 46"/>
                  <a:gd name="T1" fmla="*/ 0 h 67"/>
                  <a:gd name="T2" fmla="*/ 46 w 46"/>
                  <a:gd name="T3" fmla="*/ 51 h 67"/>
                  <a:gd name="T4" fmla="*/ 13 w 46"/>
                  <a:gd name="T5" fmla="*/ 67 h 67"/>
                  <a:gd name="T6" fmla="*/ 0 w 46"/>
                  <a:gd name="T7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67">
                    <a:moveTo>
                      <a:pt x="0" y="0"/>
                    </a:moveTo>
                    <a:lnTo>
                      <a:pt x="46" y="51"/>
                    </a:lnTo>
                    <a:lnTo>
                      <a:pt x="13" y="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5" name="Freeform 304"/>
              <p:cNvSpPr>
                <a:spLocks/>
              </p:cNvSpPr>
              <p:nvPr/>
            </p:nvSpPr>
            <p:spPr bwMode="auto">
              <a:xfrm flipH="1">
                <a:off x="8635531" y="2150311"/>
                <a:ext cx="188727" cy="193016"/>
              </a:xfrm>
              <a:custGeom>
                <a:avLst/>
                <a:gdLst>
                  <a:gd name="T0" fmla="*/ 0 w 199"/>
                  <a:gd name="T1" fmla="*/ 57 h 204"/>
                  <a:gd name="T2" fmla="*/ 40 w 199"/>
                  <a:gd name="T3" fmla="*/ 142 h 204"/>
                  <a:gd name="T4" fmla="*/ 40 w 199"/>
                  <a:gd name="T5" fmla="*/ 142 h 204"/>
                  <a:gd name="T6" fmla="*/ 199 w 199"/>
                  <a:gd name="T7" fmla="*/ 167 h 204"/>
                  <a:gd name="T8" fmla="*/ 196 w 199"/>
                  <a:gd name="T9" fmla="*/ 161 h 204"/>
                  <a:gd name="T10" fmla="*/ 173 w 199"/>
                  <a:gd name="T11" fmla="*/ 113 h 204"/>
                  <a:gd name="T12" fmla="*/ 144 w 199"/>
                  <a:gd name="T13" fmla="*/ 53 h 204"/>
                  <a:gd name="T14" fmla="*/ 119 w 199"/>
                  <a:gd name="T15" fmla="*/ 0 h 204"/>
                  <a:gd name="T16" fmla="*/ 0 w 199"/>
                  <a:gd name="T17" fmla="*/ 57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9" h="204">
                    <a:moveTo>
                      <a:pt x="0" y="57"/>
                    </a:moveTo>
                    <a:cubicBezTo>
                      <a:pt x="40" y="142"/>
                      <a:pt x="40" y="142"/>
                      <a:pt x="40" y="142"/>
                    </a:cubicBezTo>
                    <a:cubicBezTo>
                      <a:pt x="40" y="142"/>
                      <a:pt x="40" y="142"/>
                      <a:pt x="40" y="142"/>
                    </a:cubicBezTo>
                    <a:cubicBezTo>
                      <a:pt x="74" y="204"/>
                      <a:pt x="135" y="198"/>
                      <a:pt x="199" y="167"/>
                    </a:cubicBezTo>
                    <a:cubicBezTo>
                      <a:pt x="196" y="161"/>
                      <a:pt x="196" y="161"/>
                      <a:pt x="196" y="161"/>
                    </a:cubicBezTo>
                    <a:cubicBezTo>
                      <a:pt x="173" y="113"/>
                      <a:pt x="173" y="113"/>
                      <a:pt x="173" y="113"/>
                    </a:cubicBezTo>
                    <a:cubicBezTo>
                      <a:pt x="144" y="53"/>
                      <a:pt x="144" y="53"/>
                      <a:pt x="144" y="53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0" y="57"/>
                      <a:pt x="0" y="57"/>
                      <a:pt x="0" y="57"/>
                    </a:cubicBezTo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6" name="Freeform 305"/>
              <p:cNvSpPr>
                <a:spLocks/>
              </p:cNvSpPr>
              <p:nvPr/>
            </p:nvSpPr>
            <p:spPr bwMode="auto">
              <a:xfrm flipH="1">
                <a:off x="8707376" y="2218939"/>
                <a:ext cx="11796" cy="11796"/>
              </a:xfrm>
              <a:custGeom>
                <a:avLst/>
                <a:gdLst>
                  <a:gd name="T0" fmla="*/ 11 w 12"/>
                  <a:gd name="T1" fmla="*/ 3 h 12"/>
                  <a:gd name="T2" fmla="*/ 9 w 12"/>
                  <a:gd name="T3" fmla="*/ 10 h 12"/>
                  <a:gd name="T4" fmla="*/ 2 w 12"/>
                  <a:gd name="T5" fmla="*/ 8 h 12"/>
                  <a:gd name="T6" fmla="*/ 4 w 12"/>
                  <a:gd name="T7" fmla="*/ 1 h 12"/>
                  <a:gd name="T8" fmla="*/ 11 w 12"/>
                  <a:gd name="T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1" y="3"/>
                    </a:moveTo>
                    <a:cubicBezTo>
                      <a:pt x="12" y="6"/>
                      <a:pt x="11" y="9"/>
                      <a:pt x="9" y="10"/>
                    </a:cubicBezTo>
                    <a:cubicBezTo>
                      <a:pt x="6" y="12"/>
                      <a:pt x="3" y="11"/>
                      <a:pt x="2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7" y="0"/>
                      <a:pt x="10" y="1"/>
                      <a:pt x="11" y="3"/>
                    </a:cubicBezTo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7" name="Freeform 306"/>
              <p:cNvSpPr>
                <a:spLocks/>
              </p:cNvSpPr>
              <p:nvPr/>
            </p:nvSpPr>
            <p:spPr bwMode="auto">
              <a:xfrm flipH="1">
                <a:off x="8708448" y="2114924"/>
                <a:ext cx="159775" cy="191945"/>
              </a:xfrm>
              <a:custGeom>
                <a:avLst/>
                <a:gdLst>
                  <a:gd name="T0" fmla="*/ 166 w 169"/>
                  <a:gd name="T1" fmla="*/ 37 h 203"/>
                  <a:gd name="T2" fmla="*/ 165 w 169"/>
                  <a:gd name="T3" fmla="*/ 37 h 203"/>
                  <a:gd name="T4" fmla="*/ 166 w 169"/>
                  <a:gd name="T5" fmla="*/ 37 h 203"/>
                  <a:gd name="T6" fmla="*/ 81 w 169"/>
                  <a:gd name="T7" fmla="*/ 28 h 203"/>
                  <a:gd name="T8" fmla="*/ 61 w 169"/>
                  <a:gd name="T9" fmla="*/ 45 h 203"/>
                  <a:gd name="T10" fmla="*/ 43 w 169"/>
                  <a:gd name="T11" fmla="*/ 59 h 203"/>
                  <a:gd name="T12" fmla="*/ 43 w 169"/>
                  <a:gd name="T13" fmla="*/ 85 h 203"/>
                  <a:gd name="T14" fmla="*/ 104 w 169"/>
                  <a:gd name="T15" fmla="*/ 203 h 203"/>
                  <a:gd name="T16" fmla="*/ 101 w 169"/>
                  <a:gd name="T17" fmla="*/ 118 h 203"/>
                  <a:gd name="T18" fmla="*/ 103 w 169"/>
                  <a:gd name="T19" fmla="*/ 114 h 203"/>
                  <a:gd name="T20" fmla="*/ 131 w 169"/>
                  <a:gd name="T21" fmla="*/ 91 h 203"/>
                  <a:gd name="T22" fmla="*/ 166 w 169"/>
                  <a:gd name="T23" fmla="*/ 37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9" h="203">
                    <a:moveTo>
                      <a:pt x="166" y="37"/>
                    </a:moveTo>
                    <a:cubicBezTo>
                      <a:pt x="165" y="37"/>
                      <a:pt x="165" y="37"/>
                      <a:pt x="165" y="37"/>
                    </a:cubicBezTo>
                    <a:cubicBezTo>
                      <a:pt x="166" y="37"/>
                      <a:pt x="166" y="37"/>
                      <a:pt x="166" y="37"/>
                    </a:cubicBezTo>
                    <a:cubicBezTo>
                      <a:pt x="152" y="4"/>
                      <a:pt x="99" y="0"/>
                      <a:pt x="81" y="28"/>
                    </a:cubicBezTo>
                    <a:cubicBezTo>
                      <a:pt x="75" y="36"/>
                      <a:pt x="70" y="40"/>
                      <a:pt x="61" y="45"/>
                    </a:cubicBezTo>
                    <a:cubicBezTo>
                      <a:pt x="53" y="49"/>
                      <a:pt x="48" y="52"/>
                      <a:pt x="43" y="59"/>
                    </a:cubicBezTo>
                    <a:cubicBezTo>
                      <a:pt x="39" y="65"/>
                      <a:pt x="40" y="76"/>
                      <a:pt x="43" y="85"/>
                    </a:cubicBezTo>
                    <a:cubicBezTo>
                      <a:pt x="0" y="111"/>
                      <a:pt x="104" y="203"/>
                      <a:pt x="104" y="203"/>
                    </a:cubicBezTo>
                    <a:cubicBezTo>
                      <a:pt x="126" y="167"/>
                      <a:pt x="101" y="118"/>
                      <a:pt x="101" y="118"/>
                    </a:cubicBezTo>
                    <a:cubicBezTo>
                      <a:pt x="102" y="117"/>
                      <a:pt x="103" y="115"/>
                      <a:pt x="103" y="114"/>
                    </a:cubicBezTo>
                    <a:cubicBezTo>
                      <a:pt x="109" y="99"/>
                      <a:pt x="117" y="98"/>
                      <a:pt x="131" y="91"/>
                    </a:cubicBezTo>
                    <a:cubicBezTo>
                      <a:pt x="147" y="82"/>
                      <a:pt x="169" y="57"/>
                      <a:pt x="166" y="37"/>
                    </a:cubicBezTo>
                  </a:path>
                </a:pathLst>
              </a:cu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8" name="Freeform 307"/>
              <p:cNvSpPr>
                <a:spLocks/>
              </p:cNvSpPr>
              <p:nvPr/>
            </p:nvSpPr>
            <p:spPr bwMode="auto">
              <a:xfrm flipH="1">
                <a:off x="8748124" y="2226444"/>
                <a:ext cx="43965" cy="57905"/>
              </a:xfrm>
              <a:custGeom>
                <a:avLst/>
                <a:gdLst>
                  <a:gd name="T0" fmla="*/ 21 w 46"/>
                  <a:gd name="T1" fmla="*/ 0 h 61"/>
                  <a:gd name="T2" fmla="*/ 7 w 46"/>
                  <a:gd name="T3" fmla="*/ 40 h 61"/>
                  <a:gd name="T4" fmla="*/ 46 w 46"/>
                  <a:gd name="T5" fmla="*/ 53 h 61"/>
                  <a:gd name="T6" fmla="*/ 21 w 46"/>
                  <a:gd name="T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61">
                    <a:moveTo>
                      <a:pt x="21" y="0"/>
                    </a:moveTo>
                    <a:cubicBezTo>
                      <a:pt x="6" y="7"/>
                      <a:pt x="0" y="25"/>
                      <a:pt x="7" y="40"/>
                    </a:cubicBezTo>
                    <a:cubicBezTo>
                      <a:pt x="14" y="54"/>
                      <a:pt x="32" y="61"/>
                      <a:pt x="46" y="53"/>
                    </a:cubicBezTo>
                    <a:cubicBezTo>
                      <a:pt x="21" y="0"/>
                      <a:pt x="21" y="0"/>
                      <a:pt x="21" y="0"/>
                    </a:cubicBezTo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9" name="Freeform 308"/>
              <p:cNvSpPr>
                <a:spLocks/>
              </p:cNvSpPr>
              <p:nvPr/>
            </p:nvSpPr>
            <p:spPr bwMode="auto">
              <a:xfrm flipH="1">
                <a:off x="8754558" y="2239312"/>
                <a:ext cx="11796" cy="25735"/>
              </a:xfrm>
              <a:custGeom>
                <a:avLst/>
                <a:gdLst>
                  <a:gd name="T0" fmla="*/ 0 w 13"/>
                  <a:gd name="T1" fmla="*/ 0 h 27"/>
                  <a:gd name="T2" fmla="*/ 0 w 13"/>
                  <a:gd name="T3" fmla="*/ 0 h 27"/>
                  <a:gd name="T4" fmla="*/ 13 w 13"/>
                  <a:gd name="T5" fmla="*/ 27 h 27"/>
                  <a:gd name="T6" fmla="*/ 13 w 13"/>
                  <a:gd name="T7" fmla="*/ 27 h 27"/>
                  <a:gd name="T8" fmla="*/ 0 w 13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D97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0" name="Freeform 309"/>
              <p:cNvSpPr>
                <a:spLocks/>
              </p:cNvSpPr>
              <p:nvPr/>
            </p:nvSpPr>
            <p:spPr bwMode="auto">
              <a:xfrm flipH="1">
                <a:off x="8754558" y="2239312"/>
                <a:ext cx="21446" cy="26808"/>
              </a:xfrm>
              <a:custGeom>
                <a:avLst/>
                <a:gdLst>
                  <a:gd name="T0" fmla="*/ 10 w 23"/>
                  <a:gd name="T1" fmla="*/ 0 h 28"/>
                  <a:gd name="T2" fmla="*/ 3 w 23"/>
                  <a:gd name="T3" fmla="*/ 20 h 28"/>
                  <a:gd name="T4" fmla="*/ 17 w 23"/>
                  <a:gd name="T5" fmla="*/ 28 h 28"/>
                  <a:gd name="T6" fmla="*/ 23 w 23"/>
                  <a:gd name="T7" fmla="*/ 27 h 28"/>
                  <a:gd name="T8" fmla="*/ 10 w 2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8">
                    <a:moveTo>
                      <a:pt x="10" y="0"/>
                    </a:moveTo>
                    <a:cubicBezTo>
                      <a:pt x="3" y="4"/>
                      <a:pt x="0" y="13"/>
                      <a:pt x="3" y="20"/>
                    </a:cubicBezTo>
                    <a:cubicBezTo>
                      <a:pt x="6" y="25"/>
                      <a:pt x="11" y="28"/>
                      <a:pt x="17" y="28"/>
                    </a:cubicBezTo>
                    <a:cubicBezTo>
                      <a:pt x="19" y="28"/>
                      <a:pt x="21" y="28"/>
                      <a:pt x="23" y="27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D97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296" name="Group 295"/>
            <p:cNvGrpSpPr/>
            <p:nvPr/>
          </p:nvGrpSpPr>
          <p:grpSpPr>
            <a:xfrm>
              <a:off x="11736808" y="4769714"/>
              <a:ext cx="242468" cy="987474"/>
              <a:chOff x="8840343" y="2375496"/>
              <a:chExt cx="119027" cy="484750"/>
            </a:xfrm>
          </p:grpSpPr>
          <p:sp>
            <p:nvSpPr>
              <p:cNvPr id="300" name="Freeform 299"/>
              <p:cNvSpPr>
                <a:spLocks/>
              </p:cNvSpPr>
              <p:nvPr/>
            </p:nvSpPr>
            <p:spPr bwMode="auto">
              <a:xfrm rot="12997974" flipH="1">
                <a:off x="8902538" y="2804486"/>
                <a:ext cx="53615" cy="55760"/>
              </a:xfrm>
              <a:custGeom>
                <a:avLst/>
                <a:gdLst>
                  <a:gd name="T0" fmla="*/ 57 w 57"/>
                  <a:gd name="T1" fmla="*/ 32 h 59"/>
                  <a:gd name="T2" fmla="*/ 25 w 57"/>
                  <a:gd name="T3" fmla="*/ 0 h 59"/>
                  <a:gd name="T4" fmla="*/ 9 w 57"/>
                  <a:gd name="T5" fmla="*/ 4 h 59"/>
                  <a:gd name="T6" fmla="*/ 12 w 57"/>
                  <a:gd name="T7" fmla="*/ 46 h 59"/>
                  <a:gd name="T8" fmla="*/ 57 w 57"/>
                  <a:gd name="T9" fmla="*/ 46 h 59"/>
                  <a:gd name="T10" fmla="*/ 57 w 57"/>
                  <a:gd name="T11" fmla="*/ 33 h 59"/>
                  <a:gd name="T12" fmla="*/ 57 w 57"/>
                  <a:gd name="T13" fmla="*/ 33 h 59"/>
                  <a:gd name="T14" fmla="*/ 57 w 57"/>
                  <a:gd name="T15" fmla="*/ 3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59">
                    <a:moveTo>
                      <a:pt x="57" y="32"/>
                    </a:moveTo>
                    <a:cubicBezTo>
                      <a:pt x="57" y="14"/>
                      <a:pt x="43" y="0"/>
                      <a:pt x="25" y="0"/>
                    </a:cubicBezTo>
                    <a:cubicBezTo>
                      <a:pt x="19" y="0"/>
                      <a:pt x="14" y="1"/>
                      <a:pt x="9" y="4"/>
                    </a:cubicBezTo>
                    <a:cubicBezTo>
                      <a:pt x="0" y="17"/>
                      <a:pt x="1" y="34"/>
                      <a:pt x="12" y="46"/>
                    </a:cubicBezTo>
                    <a:cubicBezTo>
                      <a:pt x="24" y="58"/>
                      <a:pt x="45" y="59"/>
                      <a:pt x="57" y="46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2"/>
                      <a:pt x="57" y="32"/>
                    </a:cubicBez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1" name="Freeform 300"/>
              <p:cNvSpPr>
                <a:spLocks/>
              </p:cNvSpPr>
              <p:nvPr/>
            </p:nvSpPr>
            <p:spPr bwMode="auto">
              <a:xfrm flipH="1">
                <a:off x="8840343" y="2375496"/>
                <a:ext cx="119027" cy="458950"/>
              </a:xfrm>
              <a:custGeom>
                <a:avLst/>
                <a:gdLst>
                  <a:gd name="T0" fmla="*/ 0 w 126"/>
                  <a:gd name="T1" fmla="*/ 485 h 485"/>
                  <a:gd name="T2" fmla="*/ 68 w 126"/>
                  <a:gd name="T3" fmla="*/ 0 h 485"/>
                  <a:gd name="T4" fmla="*/ 68 w 126"/>
                  <a:gd name="T5" fmla="*/ 0 h 485"/>
                  <a:gd name="T6" fmla="*/ 126 w 126"/>
                  <a:gd name="T7" fmla="*/ 21 h 485"/>
                  <a:gd name="T8" fmla="*/ 116 w 126"/>
                  <a:gd name="T9" fmla="*/ 53 h 485"/>
                  <a:gd name="T10" fmla="*/ 94 w 126"/>
                  <a:gd name="T11" fmla="*/ 146 h 485"/>
                  <a:gd name="T12" fmla="*/ 62 w 126"/>
                  <a:gd name="T13" fmla="*/ 485 h 485"/>
                  <a:gd name="T14" fmla="*/ 0 w 126"/>
                  <a:gd name="T15" fmla="*/ 485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6" h="485">
                    <a:moveTo>
                      <a:pt x="0" y="485"/>
                    </a:moveTo>
                    <a:cubicBezTo>
                      <a:pt x="0" y="193"/>
                      <a:pt x="67" y="2"/>
                      <a:pt x="68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126" y="21"/>
                      <a:pt x="126" y="21"/>
                      <a:pt x="126" y="21"/>
                    </a:cubicBezTo>
                    <a:cubicBezTo>
                      <a:pt x="126" y="21"/>
                      <a:pt x="122" y="31"/>
                      <a:pt x="116" y="53"/>
                    </a:cubicBezTo>
                    <a:cubicBezTo>
                      <a:pt x="110" y="74"/>
                      <a:pt x="102" y="106"/>
                      <a:pt x="94" y="146"/>
                    </a:cubicBezTo>
                    <a:cubicBezTo>
                      <a:pt x="78" y="227"/>
                      <a:pt x="62" y="344"/>
                      <a:pt x="62" y="485"/>
                    </a:cubicBezTo>
                    <a:cubicBezTo>
                      <a:pt x="0" y="485"/>
                      <a:pt x="0" y="485"/>
                      <a:pt x="0" y="485"/>
                    </a:cubicBezTo>
                  </a:path>
                </a:pathLst>
              </a:custGeom>
              <a:solidFill>
                <a:srgbClr val="5C2D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297" name="Group 296"/>
            <p:cNvGrpSpPr/>
            <p:nvPr/>
          </p:nvGrpSpPr>
          <p:grpSpPr>
            <a:xfrm flipH="1">
              <a:off x="11173233" y="4772989"/>
              <a:ext cx="242468" cy="981512"/>
              <a:chOff x="8840343" y="2375496"/>
              <a:chExt cx="119027" cy="481823"/>
            </a:xfrm>
          </p:grpSpPr>
          <p:sp>
            <p:nvSpPr>
              <p:cNvPr id="298" name="Freeform 297"/>
              <p:cNvSpPr>
                <a:spLocks/>
              </p:cNvSpPr>
              <p:nvPr/>
            </p:nvSpPr>
            <p:spPr bwMode="auto">
              <a:xfrm rot="12871490" flipH="1">
                <a:off x="8901455" y="2801559"/>
                <a:ext cx="53615" cy="55760"/>
              </a:xfrm>
              <a:custGeom>
                <a:avLst/>
                <a:gdLst>
                  <a:gd name="T0" fmla="*/ 57 w 57"/>
                  <a:gd name="T1" fmla="*/ 32 h 59"/>
                  <a:gd name="T2" fmla="*/ 25 w 57"/>
                  <a:gd name="T3" fmla="*/ 0 h 59"/>
                  <a:gd name="T4" fmla="*/ 9 w 57"/>
                  <a:gd name="T5" fmla="*/ 4 h 59"/>
                  <a:gd name="T6" fmla="*/ 12 w 57"/>
                  <a:gd name="T7" fmla="*/ 46 h 59"/>
                  <a:gd name="T8" fmla="*/ 57 w 57"/>
                  <a:gd name="T9" fmla="*/ 46 h 59"/>
                  <a:gd name="T10" fmla="*/ 57 w 57"/>
                  <a:gd name="T11" fmla="*/ 33 h 59"/>
                  <a:gd name="T12" fmla="*/ 57 w 57"/>
                  <a:gd name="T13" fmla="*/ 33 h 59"/>
                  <a:gd name="T14" fmla="*/ 57 w 57"/>
                  <a:gd name="T15" fmla="*/ 3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59">
                    <a:moveTo>
                      <a:pt x="57" y="32"/>
                    </a:moveTo>
                    <a:cubicBezTo>
                      <a:pt x="57" y="14"/>
                      <a:pt x="43" y="0"/>
                      <a:pt x="25" y="0"/>
                    </a:cubicBezTo>
                    <a:cubicBezTo>
                      <a:pt x="19" y="0"/>
                      <a:pt x="14" y="1"/>
                      <a:pt x="9" y="4"/>
                    </a:cubicBezTo>
                    <a:cubicBezTo>
                      <a:pt x="0" y="17"/>
                      <a:pt x="1" y="34"/>
                      <a:pt x="12" y="46"/>
                    </a:cubicBezTo>
                    <a:cubicBezTo>
                      <a:pt x="24" y="58"/>
                      <a:pt x="45" y="59"/>
                      <a:pt x="57" y="46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2"/>
                      <a:pt x="57" y="32"/>
                    </a:cubicBez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9" name="Freeform 298"/>
              <p:cNvSpPr>
                <a:spLocks/>
              </p:cNvSpPr>
              <p:nvPr/>
            </p:nvSpPr>
            <p:spPr bwMode="auto">
              <a:xfrm flipH="1">
                <a:off x="8840343" y="2375496"/>
                <a:ext cx="119027" cy="458950"/>
              </a:xfrm>
              <a:custGeom>
                <a:avLst/>
                <a:gdLst>
                  <a:gd name="T0" fmla="*/ 0 w 126"/>
                  <a:gd name="T1" fmla="*/ 485 h 485"/>
                  <a:gd name="T2" fmla="*/ 68 w 126"/>
                  <a:gd name="T3" fmla="*/ 0 h 485"/>
                  <a:gd name="T4" fmla="*/ 68 w 126"/>
                  <a:gd name="T5" fmla="*/ 0 h 485"/>
                  <a:gd name="T6" fmla="*/ 126 w 126"/>
                  <a:gd name="T7" fmla="*/ 21 h 485"/>
                  <a:gd name="T8" fmla="*/ 116 w 126"/>
                  <a:gd name="T9" fmla="*/ 53 h 485"/>
                  <a:gd name="T10" fmla="*/ 94 w 126"/>
                  <a:gd name="T11" fmla="*/ 146 h 485"/>
                  <a:gd name="T12" fmla="*/ 62 w 126"/>
                  <a:gd name="T13" fmla="*/ 485 h 485"/>
                  <a:gd name="T14" fmla="*/ 0 w 126"/>
                  <a:gd name="T15" fmla="*/ 485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6" h="485">
                    <a:moveTo>
                      <a:pt x="0" y="485"/>
                    </a:moveTo>
                    <a:cubicBezTo>
                      <a:pt x="0" y="193"/>
                      <a:pt x="67" y="2"/>
                      <a:pt x="68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126" y="21"/>
                      <a:pt x="126" y="21"/>
                      <a:pt x="126" y="21"/>
                    </a:cubicBezTo>
                    <a:cubicBezTo>
                      <a:pt x="126" y="21"/>
                      <a:pt x="122" y="31"/>
                      <a:pt x="116" y="53"/>
                    </a:cubicBezTo>
                    <a:cubicBezTo>
                      <a:pt x="110" y="74"/>
                      <a:pt x="102" y="106"/>
                      <a:pt x="94" y="146"/>
                    </a:cubicBezTo>
                    <a:cubicBezTo>
                      <a:pt x="78" y="227"/>
                      <a:pt x="62" y="344"/>
                      <a:pt x="62" y="485"/>
                    </a:cubicBezTo>
                    <a:cubicBezTo>
                      <a:pt x="0" y="485"/>
                      <a:pt x="0" y="485"/>
                      <a:pt x="0" y="485"/>
                    </a:cubicBezTo>
                  </a:path>
                </a:pathLst>
              </a:custGeom>
              <a:solidFill>
                <a:srgbClr val="5C2D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963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19486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  <p15:guide id="5" orient="horz" pos="904" userDrawn="1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7423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786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52841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tx1"/>
                </a:soli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92929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733248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60652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57943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9240" y="1189178"/>
            <a:ext cx="11653523" cy="1258486"/>
          </a:xfrm>
        </p:spPr>
        <p:txBody>
          <a:bodyPr/>
          <a:lstStyle>
            <a:lvl1pPr marL="0" indent="0">
              <a:buNone/>
              <a:defRPr>
                <a:solidFill>
                  <a:srgbClr val="0070C0"/>
                </a:solidFill>
              </a:defRPr>
            </a:lvl1pPr>
            <a:lvl2pPr marL="0" indent="0">
              <a:buFontTx/>
              <a:buNone/>
              <a:defRPr sz="1175"/>
            </a:lvl2pPr>
            <a:lvl3pPr marL="224054" indent="0">
              <a:buNone/>
              <a:defRPr/>
            </a:lvl3pPr>
            <a:lvl4pPr marL="448107" indent="0">
              <a:buNone/>
              <a:defRPr/>
            </a:lvl4pPr>
            <a:lvl5pPr marL="6721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807924" y="6301082"/>
            <a:ext cx="4114839" cy="364224"/>
          </a:xfrm>
        </p:spPr>
        <p:txBody>
          <a:bodyPr/>
          <a:lstStyle>
            <a:lvl1pPr algn="r">
              <a:defRPr/>
            </a:lvl1pPr>
          </a:lstStyle>
          <a:p>
            <a:pPr defTabSz="914192"/>
            <a:endParaRPr lang="en-US">
              <a:gradFill>
                <a:gsLst>
                  <a:gs pos="15854">
                    <a:srgbClr val="505050"/>
                  </a:gs>
                  <a:gs pos="46000">
                    <a:srgbClr val="505050"/>
                  </a:gs>
                </a:gsLst>
                <a:lin ang="5400000" scaled="0"/>
                <a:tileRect/>
              </a:gradFill>
            </a:endParaRP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724907" y="6301082"/>
            <a:ext cx="2742188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914192" rtl="0" eaLnBrk="1" latinLnBrk="0" hangingPunct="1">
              <a:defRPr lang="en-US" sz="980" kern="1200" smtClean="0">
                <a:gradFill>
                  <a:gsLst>
                    <a:gs pos="11881">
                      <a:schemeClr val="tx1"/>
                    </a:gs>
                    <a:gs pos="32673">
                      <a:schemeClr val="tx1"/>
                    </a:gs>
                  </a:gsLst>
                  <a:lin ang="5400000" scaled="0"/>
                  <a:tileRect/>
                </a:gradFill>
                <a:latin typeface="+mn-lt"/>
                <a:ea typeface="+mn-ea"/>
                <a:cs typeface="+mn-cs"/>
              </a:defRPr>
            </a:lvl1pPr>
          </a:lstStyle>
          <a:p>
            <a:fld id="{9402D7EA-69DA-47DE-913D-65F90494ACE6}" type="slidenum">
              <a:rPr lang="en-US" smtClean="0">
                <a:gradFill>
                  <a:gsLst>
                    <a:gs pos="11881">
                      <a:srgbClr val="505050"/>
                    </a:gs>
                    <a:gs pos="32673">
                      <a:srgbClr val="505050"/>
                    </a:gs>
                  </a:gsLst>
                  <a:lin ang="5400000" scaled="0"/>
                  <a:tileRect/>
                </a:gradFill>
              </a:rPr>
              <a:pPr/>
              <a:t>‹#›</a:t>
            </a:fld>
            <a:endParaRPr lang="en-US">
              <a:gradFill>
                <a:gsLst>
                  <a:gs pos="11881">
                    <a:srgbClr val="505050"/>
                  </a:gs>
                  <a:gs pos="32673">
                    <a:srgbClr val="505050"/>
                  </a:gs>
                </a:gsLst>
                <a:lin ang="5400000" scaled="0"/>
                <a:tileRect/>
              </a:gra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241" y="6310422"/>
            <a:ext cx="1111193" cy="354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91114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217309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415879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2" y="6041178"/>
            <a:ext cx="1613565" cy="346755"/>
          </a:xfrm>
          <a:prstGeom prst="rect">
            <a:avLst/>
          </a:prstGeom>
        </p:spPr>
      </p:pic>
      <p:grpSp>
        <p:nvGrpSpPr>
          <p:cNvPr id="287" name="Group 286"/>
          <p:cNvGrpSpPr/>
          <p:nvPr userDrawn="1"/>
        </p:nvGrpSpPr>
        <p:grpSpPr>
          <a:xfrm>
            <a:off x="2823877" y="71610"/>
            <a:ext cx="9898361" cy="6786392"/>
            <a:chOff x="2880502" y="73035"/>
            <a:chExt cx="10096844" cy="6921491"/>
          </a:xfrm>
        </p:grpSpPr>
        <p:grpSp>
          <p:nvGrpSpPr>
            <p:cNvPr id="288" name="Group 170"/>
            <p:cNvGrpSpPr>
              <a:grpSpLocks noChangeAspect="1"/>
            </p:cNvGrpSpPr>
            <p:nvPr/>
          </p:nvGrpSpPr>
          <p:grpSpPr bwMode="auto">
            <a:xfrm>
              <a:off x="11201400" y="4729163"/>
              <a:ext cx="1249363" cy="1628775"/>
              <a:chOff x="7056" y="3134"/>
              <a:chExt cx="787" cy="1026"/>
            </a:xfrm>
          </p:grpSpPr>
          <p:sp>
            <p:nvSpPr>
              <p:cNvPr id="494" name="AutoShape 169"/>
              <p:cNvSpPr>
                <a:spLocks noChangeAspect="1" noChangeArrowheads="1" noTextEdit="1"/>
              </p:cNvSpPr>
              <p:nvPr/>
            </p:nvSpPr>
            <p:spPr bwMode="auto">
              <a:xfrm>
                <a:off x="7056" y="3134"/>
                <a:ext cx="787" cy="10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5" name="Freeform 171"/>
              <p:cNvSpPr>
                <a:spLocks/>
              </p:cNvSpPr>
              <p:nvPr/>
            </p:nvSpPr>
            <p:spPr bwMode="auto">
              <a:xfrm>
                <a:off x="7515" y="3250"/>
                <a:ext cx="228" cy="30"/>
              </a:xfrm>
              <a:custGeom>
                <a:avLst/>
                <a:gdLst>
                  <a:gd name="T0" fmla="*/ 191 w 228"/>
                  <a:gd name="T1" fmla="*/ 0 h 30"/>
                  <a:gd name="T2" fmla="*/ 0 w 228"/>
                  <a:gd name="T3" fmla="*/ 0 h 30"/>
                  <a:gd name="T4" fmla="*/ 39 w 228"/>
                  <a:gd name="T5" fmla="*/ 30 h 30"/>
                  <a:gd name="T6" fmla="*/ 228 w 228"/>
                  <a:gd name="T7" fmla="*/ 30 h 30"/>
                  <a:gd name="T8" fmla="*/ 191 w 228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8" h="30">
                    <a:moveTo>
                      <a:pt x="191" y="0"/>
                    </a:moveTo>
                    <a:lnTo>
                      <a:pt x="0" y="0"/>
                    </a:lnTo>
                    <a:lnTo>
                      <a:pt x="39" y="30"/>
                    </a:lnTo>
                    <a:lnTo>
                      <a:pt x="228" y="30"/>
                    </a:lnTo>
                    <a:lnTo>
                      <a:pt x="19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6" name="Freeform 172"/>
              <p:cNvSpPr>
                <a:spLocks/>
              </p:cNvSpPr>
              <p:nvPr/>
            </p:nvSpPr>
            <p:spPr bwMode="auto">
              <a:xfrm>
                <a:off x="7515" y="3250"/>
                <a:ext cx="39" cy="139"/>
              </a:xfrm>
              <a:custGeom>
                <a:avLst/>
                <a:gdLst>
                  <a:gd name="T0" fmla="*/ 0 w 39"/>
                  <a:gd name="T1" fmla="*/ 128 h 139"/>
                  <a:gd name="T2" fmla="*/ 0 w 39"/>
                  <a:gd name="T3" fmla="*/ 0 h 139"/>
                  <a:gd name="T4" fmla="*/ 39 w 39"/>
                  <a:gd name="T5" fmla="*/ 30 h 139"/>
                  <a:gd name="T6" fmla="*/ 39 w 39"/>
                  <a:gd name="T7" fmla="*/ 128 h 139"/>
                  <a:gd name="T8" fmla="*/ 39 w 39"/>
                  <a:gd name="T9" fmla="*/ 139 h 139"/>
                  <a:gd name="T10" fmla="*/ 0 w 39"/>
                  <a:gd name="T11" fmla="*/ 139 h 139"/>
                  <a:gd name="T12" fmla="*/ 0 w 39"/>
                  <a:gd name="T13" fmla="*/ 128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39">
                    <a:moveTo>
                      <a:pt x="0" y="128"/>
                    </a:moveTo>
                    <a:lnTo>
                      <a:pt x="0" y="0"/>
                    </a:lnTo>
                    <a:lnTo>
                      <a:pt x="39" y="30"/>
                    </a:lnTo>
                    <a:lnTo>
                      <a:pt x="39" y="128"/>
                    </a:lnTo>
                    <a:lnTo>
                      <a:pt x="39" y="139"/>
                    </a:lnTo>
                    <a:lnTo>
                      <a:pt x="0" y="139"/>
                    </a:lnTo>
                    <a:lnTo>
                      <a:pt x="0" y="128"/>
                    </a:lnTo>
                    <a:close/>
                  </a:path>
                </a:pathLst>
              </a:custGeom>
              <a:solidFill>
                <a:srgbClr val="309C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7" name="Rectangle 173"/>
              <p:cNvSpPr>
                <a:spLocks noChangeArrowheads="1"/>
              </p:cNvSpPr>
              <p:nvPr/>
            </p:nvSpPr>
            <p:spPr bwMode="auto">
              <a:xfrm>
                <a:off x="7554" y="3280"/>
                <a:ext cx="189" cy="98"/>
              </a:xfrm>
              <a:prstGeom prst="rect">
                <a:avLst/>
              </a:prstGeom>
              <a:solidFill>
                <a:srgbClr val="9CD9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8" name="Freeform 174"/>
              <p:cNvSpPr>
                <a:spLocks noEditPoints="1"/>
              </p:cNvSpPr>
              <p:nvPr/>
            </p:nvSpPr>
            <p:spPr bwMode="auto">
              <a:xfrm>
                <a:off x="7554" y="3280"/>
                <a:ext cx="189" cy="98"/>
              </a:xfrm>
              <a:custGeom>
                <a:avLst/>
                <a:gdLst>
                  <a:gd name="T0" fmla="*/ 186 w 189"/>
                  <a:gd name="T1" fmla="*/ 5 h 98"/>
                  <a:gd name="T2" fmla="*/ 186 w 189"/>
                  <a:gd name="T3" fmla="*/ 93 h 98"/>
                  <a:gd name="T4" fmla="*/ 4 w 189"/>
                  <a:gd name="T5" fmla="*/ 93 h 98"/>
                  <a:gd name="T6" fmla="*/ 4 w 189"/>
                  <a:gd name="T7" fmla="*/ 5 h 98"/>
                  <a:gd name="T8" fmla="*/ 186 w 189"/>
                  <a:gd name="T9" fmla="*/ 5 h 98"/>
                  <a:gd name="T10" fmla="*/ 189 w 189"/>
                  <a:gd name="T11" fmla="*/ 0 h 98"/>
                  <a:gd name="T12" fmla="*/ 0 w 189"/>
                  <a:gd name="T13" fmla="*/ 0 h 98"/>
                  <a:gd name="T14" fmla="*/ 0 w 189"/>
                  <a:gd name="T15" fmla="*/ 98 h 98"/>
                  <a:gd name="T16" fmla="*/ 189 w 189"/>
                  <a:gd name="T17" fmla="*/ 98 h 98"/>
                  <a:gd name="T18" fmla="*/ 189 w 189"/>
                  <a:gd name="T19" fmla="*/ 0 h 98"/>
                  <a:gd name="T20" fmla="*/ 189 w 189"/>
                  <a:gd name="T21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" h="98">
                    <a:moveTo>
                      <a:pt x="186" y="5"/>
                    </a:moveTo>
                    <a:lnTo>
                      <a:pt x="186" y="93"/>
                    </a:lnTo>
                    <a:lnTo>
                      <a:pt x="4" y="93"/>
                    </a:lnTo>
                    <a:lnTo>
                      <a:pt x="4" y="5"/>
                    </a:lnTo>
                    <a:lnTo>
                      <a:pt x="186" y="5"/>
                    </a:lnTo>
                    <a:close/>
                    <a:moveTo>
                      <a:pt x="189" y="0"/>
                    </a:moveTo>
                    <a:lnTo>
                      <a:pt x="0" y="0"/>
                    </a:lnTo>
                    <a:lnTo>
                      <a:pt x="0" y="98"/>
                    </a:lnTo>
                    <a:lnTo>
                      <a:pt x="189" y="98"/>
                    </a:lnTo>
                    <a:lnTo>
                      <a:pt x="189" y="0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rgbClr val="6DC2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9" name="Freeform 175"/>
              <p:cNvSpPr>
                <a:spLocks noEditPoints="1"/>
              </p:cNvSpPr>
              <p:nvPr/>
            </p:nvSpPr>
            <p:spPr bwMode="auto">
              <a:xfrm>
                <a:off x="7554" y="3280"/>
                <a:ext cx="189" cy="98"/>
              </a:xfrm>
              <a:custGeom>
                <a:avLst/>
                <a:gdLst>
                  <a:gd name="T0" fmla="*/ 186 w 189"/>
                  <a:gd name="T1" fmla="*/ 5 h 98"/>
                  <a:gd name="T2" fmla="*/ 186 w 189"/>
                  <a:gd name="T3" fmla="*/ 93 h 98"/>
                  <a:gd name="T4" fmla="*/ 4 w 189"/>
                  <a:gd name="T5" fmla="*/ 93 h 98"/>
                  <a:gd name="T6" fmla="*/ 4 w 189"/>
                  <a:gd name="T7" fmla="*/ 5 h 98"/>
                  <a:gd name="T8" fmla="*/ 186 w 189"/>
                  <a:gd name="T9" fmla="*/ 5 h 98"/>
                  <a:gd name="T10" fmla="*/ 189 w 189"/>
                  <a:gd name="T11" fmla="*/ 0 h 98"/>
                  <a:gd name="T12" fmla="*/ 0 w 189"/>
                  <a:gd name="T13" fmla="*/ 0 h 98"/>
                  <a:gd name="T14" fmla="*/ 0 w 189"/>
                  <a:gd name="T15" fmla="*/ 98 h 98"/>
                  <a:gd name="T16" fmla="*/ 189 w 189"/>
                  <a:gd name="T17" fmla="*/ 98 h 98"/>
                  <a:gd name="T18" fmla="*/ 189 w 189"/>
                  <a:gd name="T19" fmla="*/ 0 h 98"/>
                  <a:gd name="T20" fmla="*/ 189 w 189"/>
                  <a:gd name="T21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9" h="98">
                    <a:moveTo>
                      <a:pt x="186" y="5"/>
                    </a:moveTo>
                    <a:lnTo>
                      <a:pt x="186" y="93"/>
                    </a:lnTo>
                    <a:lnTo>
                      <a:pt x="4" y="93"/>
                    </a:lnTo>
                    <a:lnTo>
                      <a:pt x="4" y="5"/>
                    </a:lnTo>
                    <a:lnTo>
                      <a:pt x="186" y="5"/>
                    </a:lnTo>
                    <a:moveTo>
                      <a:pt x="189" y="0"/>
                    </a:moveTo>
                    <a:lnTo>
                      <a:pt x="0" y="0"/>
                    </a:lnTo>
                    <a:lnTo>
                      <a:pt x="0" y="98"/>
                    </a:lnTo>
                    <a:lnTo>
                      <a:pt x="189" y="98"/>
                    </a:lnTo>
                    <a:lnTo>
                      <a:pt x="189" y="0"/>
                    </a:lnTo>
                    <a:lnTo>
                      <a:pt x="18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0" name="Line 176"/>
              <p:cNvSpPr>
                <a:spLocks noChangeShapeType="1"/>
              </p:cNvSpPr>
              <p:nvPr/>
            </p:nvSpPr>
            <p:spPr bwMode="auto">
              <a:xfrm flipV="1">
                <a:off x="7590" y="3280"/>
                <a:ext cx="0" cy="98"/>
              </a:xfrm>
              <a:prstGeom prst="line">
                <a:avLst/>
              </a:prstGeom>
              <a:noFill/>
              <a:ln w="9525" cap="flat">
                <a:solidFill>
                  <a:srgbClr val="6DC2E9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1" name="Line 177"/>
              <p:cNvSpPr>
                <a:spLocks noChangeShapeType="1"/>
              </p:cNvSpPr>
              <p:nvPr/>
            </p:nvSpPr>
            <p:spPr bwMode="auto">
              <a:xfrm flipV="1">
                <a:off x="7629" y="3280"/>
                <a:ext cx="0" cy="98"/>
              </a:xfrm>
              <a:prstGeom prst="line">
                <a:avLst/>
              </a:prstGeom>
              <a:noFill/>
              <a:ln w="9525" cap="flat">
                <a:solidFill>
                  <a:srgbClr val="6DC2E9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2" name="Line 178"/>
              <p:cNvSpPr>
                <a:spLocks noChangeShapeType="1"/>
              </p:cNvSpPr>
              <p:nvPr/>
            </p:nvSpPr>
            <p:spPr bwMode="auto">
              <a:xfrm flipV="1">
                <a:off x="7668" y="3280"/>
                <a:ext cx="0" cy="98"/>
              </a:xfrm>
              <a:prstGeom prst="line">
                <a:avLst/>
              </a:prstGeom>
              <a:noFill/>
              <a:ln w="9525" cap="flat">
                <a:solidFill>
                  <a:srgbClr val="6DC2E9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3" name="Line 179"/>
              <p:cNvSpPr>
                <a:spLocks noChangeShapeType="1"/>
              </p:cNvSpPr>
              <p:nvPr/>
            </p:nvSpPr>
            <p:spPr bwMode="auto">
              <a:xfrm flipV="1">
                <a:off x="7707" y="3280"/>
                <a:ext cx="0" cy="98"/>
              </a:xfrm>
              <a:prstGeom prst="line">
                <a:avLst/>
              </a:prstGeom>
              <a:noFill/>
              <a:ln w="9525" cap="flat">
                <a:solidFill>
                  <a:srgbClr val="6DC2E9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4" name="Line 180"/>
              <p:cNvSpPr>
                <a:spLocks noChangeShapeType="1"/>
              </p:cNvSpPr>
              <p:nvPr/>
            </p:nvSpPr>
            <p:spPr bwMode="auto">
              <a:xfrm>
                <a:off x="7554" y="3312"/>
                <a:ext cx="186" cy="0"/>
              </a:xfrm>
              <a:prstGeom prst="line">
                <a:avLst/>
              </a:prstGeom>
              <a:noFill/>
              <a:ln w="9525" cap="flat">
                <a:solidFill>
                  <a:srgbClr val="6DC2E9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5" name="Line 181"/>
              <p:cNvSpPr>
                <a:spLocks noChangeShapeType="1"/>
              </p:cNvSpPr>
              <p:nvPr/>
            </p:nvSpPr>
            <p:spPr bwMode="auto">
              <a:xfrm>
                <a:off x="7554" y="3346"/>
                <a:ext cx="186" cy="0"/>
              </a:xfrm>
              <a:prstGeom prst="line">
                <a:avLst/>
              </a:prstGeom>
              <a:noFill/>
              <a:ln w="9525" cap="flat">
                <a:solidFill>
                  <a:srgbClr val="6DC2E9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6" name="Rectangle 182"/>
              <p:cNvSpPr>
                <a:spLocks noChangeArrowheads="1"/>
              </p:cNvSpPr>
              <p:nvPr/>
            </p:nvSpPr>
            <p:spPr bwMode="auto">
              <a:xfrm>
                <a:off x="7129" y="3676"/>
                <a:ext cx="223" cy="363"/>
              </a:xfrm>
              <a:prstGeom prst="rect">
                <a:avLst/>
              </a:prstGeom>
              <a:solidFill>
                <a:srgbClr val="309C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7" name="Rectangle 183"/>
              <p:cNvSpPr>
                <a:spLocks noChangeArrowheads="1"/>
              </p:cNvSpPr>
              <p:nvPr/>
            </p:nvSpPr>
            <p:spPr bwMode="auto">
              <a:xfrm>
                <a:off x="7192" y="3631"/>
                <a:ext cx="91" cy="93"/>
              </a:xfrm>
              <a:prstGeom prst="rect">
                <a:avLst/>
              </a:prstGeom>
              <a:solidFill>
                <a:srgbClr val="309C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8" name="Rectangle 184"/>
              <p:cNvSpPr>
                <a:spLocks noChangeArrowheads="1"/>
              </p:cNvSpPr>
              <p:nvPr/>
            </p:nvSpPr>
            <p:spPr bwMode="auto">
              <a:xfrm>
                <a:off x="7151" y="3298"/>
                <a:ext cx="287" cy="76"/>
              </a:xfrm>
              <a:prstGeom prst="rect">
                <a:avLst/>
              </a:prstGeom>
              <a:solidFill>
                <a:srgbClr val="0077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9" name="Rectangle 185"/>
              <p:cNvSpPr>
                <a:spLocks noChangeArrowheads="1"/>
              </p:cNvSpPr>
              <p:nvPr/>
            </p:nvSpPr>
            <p:spPr bwMode="auto">
              <a:xfrm>
                <a:off x="7058" y="3374"/>
                <a:ext cx="787" cy="788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0" name="Rectangle 186"/>
              <p:cNvSpPr>
                <a:spLocks noChangeArrowheads="1"/>
              </p:cNvSpPr>
              <p:nvPr/>
            </p:nvSpPr>
            <p:spPr bwMode="auto">
              <a:xfrm>
                <a:off x="7058" y="3403"/>
                <a:ext cx="787" cy="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1" name="Rectangle 187"/>
              <p:cNvSpPr>
                <a:spLocks noChangeArrowheads="1"/>
              </p:cNvSpPr>
              <p:nvPr/>
            </p:nvSpPr>
            <p:spPr bwMode="auto">
              <a:xfrm>
                <a:off x="7103" y="3448"/>
                <a:ext cx="55" cy="11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2" name="Rectangle 188"/>
              <p:cNvSpPr>
                <a:spLocks noChangeArrowheads="1"/>
              </p:cNvSpPr>
              <p:nvPr/>
            </p:nvSpPr>
            <p:spPr bwMode="auto">
              <a:xfrm>
                <a:off x="7094" y="3503"/>
                <a:ext cx="73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3" name="Rectangle 189"/>
              <p:cNvSpPr>
                <a:spLocks noChangeArrowheads="1"/>
              </p:cNvSpPr>
              <p:nvPr/>
            </p:nvSpPr>
            <p:spPr bwMode="auto">
              <a:xfrm>
                <a:off x="7231" y="3448"/>
                <a:ext cx="55" cy="115"/>
              </a:xfrm>
              <a:prstGeom prst="rect">
                <a:avLst/>
              </a:prstGeom>
              <a:solidFill>
                <a:srgbClr val="FFF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4" name="Rectangle 190"/>
              <p:cNvSpPr>
                <a:spLocks noChangeArrowheads="1"/>
              </p:cNvSpPr>
              <p:nvPr/>
            </p:nvSpPr>
            <p:spPr bwMode="auto">
              <a:xfrm>
                <a:off x="7222" y="3503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5" name="Rectangle 191"/>
              <p:cNvSpPr>
                <a:spLocks noChangeArrowheads="1"/>
              </p:cNvSpPr>
              <p:nvPr/>
            </p:nvSpPr>
            <p:spPr bwMode="auto">
              <a:xfrm>
                <a:off x="7359" y="3448"/>
                <a:ext cx="56" cy="11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6" name="Rectangle 192"/>
              <p:cNvSpPr>
                <a:spLocks noChangeArrowheads="1"/>
              </p:cNvSpPr>
              <p:nvPr/>
            </p:nvSpPr>
            <p:spPr bwMode="auto">
              <a:xfrm>
                <a:off x="7351" y="3503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7" name="Rectangle 193"/>
              <p:cNvSpPr>
                <a:spLocks noChangeArrowheads="1"/>
              </p:cNvSpPr>
              <p:nvPr/>
            </p:nvSpPr>
            <p:spPr bwMode="auto">
              <a:xfrm>
                <a:off x="7488" y="3448"/>
                <a:ext cx="55" cy="11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8" name="Rectangle 194"/>
              <p:cNvSpPr>
                <a:spLocks noChangeArrowheads="1"/>
              </p:cNvSpPr>
              <p:nvPr/>
            </p:nvSpPr>
            <p:spPr bwMode="auto">
              <a:xfrm>
                <a:off x="7479" y="3503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9" name="Rectangle 195"/>
              <p:cNvSpPr>
                <a:spLocks noChangeArrowheads="1"/>
              </p:cNvSpPr>
              <p:nvPr/>
            </p:nvSpPr>
            <p:spPr bwMode="auto">
              <a:xfrm>
                <a:off x="7616" y="3448"/>
                <a:ext cx="56" cy="115"/>
              </a:xfrm>
              <a:prstGeom prst="rect">
                <a:avLst/>
              </a:prstGeom>
              <a:solidFill>
                <a:srgbClr val="FFF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0" name="Rectangle 196"/>
              <p:cNvSpPr>
                <a:spLocks noChangeArrowheads="1"/>
              </p:cNvSpPr>
              <p:nvPr/>
            </p:nvSpPr>
            <p:spPr bwMode="auto">
              <a:xfrm>
                <a:off x="7608" y="3503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1" name="Rectangle 197"/>
              <p:cNvSpPr>
                <a:spLocks noChangeArrowheads="1"/>
              </p:cNvSpPr>
              <p:nvPr/>
            </p:nvSpPr>
            <p:spPr bwMode="auto">
              <a:xfrm>
                <a:off x="7745" y="3448"/>
                <a:ext cx="55" cy="115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2" name="Rectangle 198"/>
              <p:cNvSpPr>
                <a:spLocks noChangeArrowheads="1"/>
              </p:cNvSpPr>
              <p:nvPr/>
            </p:nvSpPr>
            <p:spPr bwMode="auto">
              <a:xfrm>
                <a:off x="7736" y="3503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3" name="Rectangle 199"/>
              <p:cNvSpPr>
                <a:spLocks noChangeArrowheads="1"/>
              </p:cNvSpPr>
              <p:nvPr/>
            </p:nvSpPr>
            <p:spPr bwMode="auto">
              <a:xfrm>
                <a:off x="7103" y="3599"/>
                <a:ext cx="55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4" name="Rectangle 200"/>
              <p:cNvSpPr>
                <a:spLocks noChangeArrowheads="1"/>
              </p:cNvSpPr>
              <p:nvPr/>
            </p:nvSpPr>
            <p:spPr bwMode="auto">
              <a:xfrm>
                <a:off x="7094" y="3656"/>
                <a:ext cx="73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5" name="Rectangle 201"/>
              <p:cNvSpPr>
                <a:spLocks noChangeArrowheads="1"/>
              </p:cNvSpPr>
              <p:nvPr/>
            </p:nvSpPr>
            <p:spPr bwMode="auto">
              <a:xfrm>
                <a:off x="7231" y="3599"/>
                <a:ext cx="55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6" name="Rectangle 202"/>
              <p:cNvSpPr>
                <a:spLocks noChangeArrowheads="1"/>
              </p:cNvSpPr>
              <p:nvPr/>
            </p:nvSpPr>
            <p:spPr bwMode="auto">
              <a:xfrm>
                <a:off x="7222" y="3656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7" name="Rectangle 203"/>
              <p:cNvSpPr>
                <a:spLocks noChangeArrowheads="1"/>
              </p:cNvSpPr>
              <p:nvPr/>
            </p:nvSpPr>
            <p:spPr bwMode="auto">
              <a:xfrm>
                <a:off x="7359" y="3599"/>
                <a:ext cx="56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8" name="Rectangle 204"/>
              <p:cNvSpPr>
                <a:spLocks noChangeArrowheads="1"/>
              </p:cNvSpPr>
              <p:nvPr/>
            </p:nvSpPr>
            <p:spPr bwMode="auto">
              <a:xfrm>
                <a:off x="7351" y="3656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9" name="Rectangle 205"/>
              <p:cNvSpPr>
                <a:spLocks noChangeArrowheads="1"/>
              </p:cNvSpPr>
              <p:nvPr/>
            </p:nvSpPr>
            <p:spPr bwMode="auto">
              <a:xfrm>
                <a:off x="7488" y="3599"/>
                <a:ext cx="55" cy="117"/>
              </a:xfrm>
              <a:prstGeom prst="rect">
                <a:avLst/>
              </a:prstGeom>
              <a:solidFill>
                <a:srgbClr val="FFF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0" name="Rectangle 206"/>
              <p:cNvSpPr>
                <a:spLocks noChangeArrowheads="1"/>
              </p:cNvSpPr>
              <p:nvPr/>
            </p:nvSpPr>
            <p:spPr bwMode="auto">
              <a:xfrm>
                <a:off x="7479" y="3656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1" name="Rectangle 207"/>
              <p:cNvSpPr>
                <a:spLocks noChangeArrowheads="1"/>
              </p:cNvSpPr>
              <p:nvPr/>
            </p:nvSpPr>
            <p:spPr bwMode="auto">
              <a:xfrm>
                <a:off x="7616" y="3599"/>
                <a:ext cx="56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2" name="Rectangle 208"/>
              <p:cNvSpPr>
                <a:spLocks noChangeArrowheads="1"/>
              </p:cNvSpPr>
              <p:nvPr/>
            </p:nvSpPr>
            <p:spPr bwMode="auto">
              <a:xfrm>
                <a:off x="7608" y="3656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3" name="Rectangle 209"/>
              <p:cNvSpPr>
                <a:spLocks noChangeArrowheads="1"/>
              </p:cNvSpPr>
              <p:nvPr/>
            </p:nvSpPr>
            <p:spPr bwMode="auto">
              <a:xfrm>
                <a:off x="7745" y="3599"/>
                <a:ext cx="55" cy="11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4" name="Rectangle 210"/>
              <p:cNvSpPr>
                <a:spLocks noChangeArrowheads="1"/>
              </p:cNvSpPr>
              <p:nvPr/>
            </p:nvSpPr>
            <p:spPr bwMode="auto">
              <a:xfrm>
                <a:off x="7736" y="3656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5" name="Rectangle 211"/>
              <p:cNvSpPr>
                <a:spLocks noChangeArrowheads="1"/>
              </p:cNvSpPr>
              <p:nvPr/>
            </p:nvSpPr>
            <p:spPr bwMode="auto">
              <a:xfrm>
                <a:off x="7103" y="3752"/>
                <a:ext cx="55" cy="118"/>
              </a:xfrm>
              <a:prstGeom prst="rect">
                <a:avLst/>
              </a:prstGeom>
              <a:solidFill>
                <a:srgbClr val="FFF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6" name="Rectangle 212"/>
              <p:cNvSpPr>
                <a:spLocks noChangeArrowheads="1"/>
              </p:cNvSpPr>
              <p:nvPr/>
            </p:nvSpPr>
            <p:spPr bwMode="auto">
              <a:xfrm>
                <a:off x="7094" y="3809"/>
                <a:ext cx="73" cy="4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7" name="Rectangle 213"/>
              <p:cNvSpPr>
                <a:spLocks noChangeArrowheads="1"/>
              </p:cNvSpPr>
              <p:nvPr/>
            </p:nvSpPr>
            <p:spPr bwMode="auto">
              <a:xfrm>
                <a:off x="7231" y="3752"/>
                <a:ext cx="55" cy="11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8" name="Rectangle 214"/>
              <p:cNvSpPr>
                <a:spLocks noChangeArrowheads="1"/>
              </p:cNvSpPr>
              <p:nvPr/>
            </p:nvSpPr>
            <p:spPr bwMode="auto">
              <a:xfrm>
                <a:off x="7222" y="3809"/>
                <a:ext cx="71" cy="4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9" name="Rectangle 215"/>
              <p:cNvSpPr>
                <a:spLocks noChangeArrowheads="1"/>
              </p:cNvSpPr>
              <p:nvPr/>
            </p:nvSpPr>
            <p:spPr bwMode="auto">
              <a:xfrm>
                <a:off x="7359" y="3752"/>
                <a:ext cx="56" cy="118"/>
              </a:xfrm>
              <a:prstGeom prst="rect">
                <a:avLst/>
              </a:prstGeom>
              <a:solidFill>
                <a:srgbClr val="FFF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0" name="Rectangle 216"/>
              <p:cNvSpPr>
                <a:spLocks noChangeArrowheads="1"/>
              </p:cNvSpPr>
              <p:nvPr/>
            </p:nvSpPr>
            <p:spPr bwMode="auto">
              <a:xfrm>
                <a:off x="7351" y="3809"/>
                <a:ext cx="71" cy="4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1" name="Rectangle 217"/>
              <p:cNvSpPr>
                <a:spLocks noChangeArrowheads="1"/>
              </p:cNvSpPr>
              <p:nvPr/>
            </p:nvSpPr>
            <p:spPr bwMode="auto">
              <a:xfrm>
                <a:off x="7488" y="3752"/>
                <a:ext cx="55" cy="11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2" name="Rectangle 218"/>
              <p:cNvSpPr>
                <a:spLocks noChangeArrowheads="1"/>
              </p:cNvSpPr>
              <p:nvPr/>
            </p:nvSpPr>
            <p:spPr bwMode="auto">
              <a:xfrm>
                <a:off x="7479" y="3809"/>
                <a:ext cx="71" cy="4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3" name="Rectangle 219"/>
              <p:cNvSpPr>
                <a:spLocks noChangeArrowheads="1"/>
              </p:cNvSpPr>
              <p:nvPr/>
            </p:nvSpPr>
            <p:spPr bwMode="auto">
              <a:xfrm>
                <a:off x="7616" y="3752"/>
                <a:ext cx="56" cy="118"/>
              </a:xfrm>
              <a:prstGeom prst="rect">
                <a:avLst/>
              </a:prstGeom>
              <a:solidFill>
                <a:srgbClr val="FFF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4" name="Rectangle 220"/>
              <p:cNvSpPr>
                <a:spLocks noChangeArrowheads="1"/>
              </p:cNvSpPr>
              <p:nvPr/>
            </p:nvSpPr>
            <p:spPr bwMode="auto">
              <a:xfrm>
                <a:off x="7608" y="3809"/>
                <a:ext cx="71" cy="4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5" name="Rectangle 221"/>
              <p:cNvSpPr>
                <a:spLocks noChangeArrowheads="1"/>
              </p:cNvSpPr>
              <p:nvPr/>
            </p:nvSpPr>
            <p:spPr bwMode="auto">
              <a:xfrm>
                <a:off x="7745" y="3752"/>
                <a:ext cx="55" cy="11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6" name="Rectangle 222"/>
              <p:cNvSpPr>
                <a:spLocks noChangeArrowheads="1"/>
              </p:cNvSpPr>
              <p:nvPr/>
            </p:nvSpPr>
            <p:spPr bwMode="auto">
              <a:xfrm>
                <a:off x="7736" y="3809"/>
                <a:ext cx="71" cy="4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7" name="Rectangle 223"/>
              <p:cNvSpPr>
                <a:spLocks noChangeArrowheads="1"/>
              </p:cNvSpPr>
              <p:nvPr/>
            </p:nvSpPr>
            <p:spPr bwMode="auto">
              <a:xfrm>
                <a:off x="7103" y="3905"/>
                <a:ext cx="55" cy="1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8" name="Rectangle 224"/>
              <p:cNvSpPr>
                <a:spLocks noChangeArrowheads="1"/>
              </p:cNvSpPr>
              <p:nvPr/>
            </p:nvSpPr>
            <p:spPr bwMode="auto">
              <a:xfrm>
                <a:off x="7094" y="3961"/>
                <a:ext cx="73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9" name="Rectangle 225"/>
              <p:cNvSpPr>
                <a:spLocks noChangeArrowheads="1"/>
              </p:cNvSpPr>
              <p:nvPr/>
            </p:nvSpPr>
            <p:spPr bwMode="auto">
              <a:xfrm>
                <a:off x="7231" y="3905"/>
                <a:ext cx="55" cy="116"/>
              </a:xfrm>
              <a:prstGeom prst="rect">
                <a:avLst/>
              </a:prstGeom>
              <a:solidFill>
                <a:srgbClr val="FFF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0" name="Rectangle 226"/>
              <p:cNvSpPr>
                <a:spLocks noChangeArrowheads="1"/>
              </p:cNvSpPr>
              <p:nvPr/>
            </p:nvSpPr>
            <p:spPr bwMode="auto">
              <a:xfrm>
                <a:off x="7222" y="3961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1" name="Rectangle 227"/>
              <p:cNvSpPr>
                <a:spLocks noChangeArrowheads="1"/>
              </p:cNvSpPr>
              <p:nvPr/>
            </p:nvSpPr>
            <p:spPr bwMode="auto">
              <a:xfrm>
                <a:off x="7231" y="4114"/>
                <a:ext cx="55" cy="4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2" name="Rectangle 228"/>
              <p:cNvSpPr>
                <a:spLocks noChangeArrowheads="1"/>
              </p:cNvSpPr>
              <p:nvPr/>
            </p:nvSpPr>
            <p:spPr bwMode="auto">
              <a:xfrm>
                <a:off x="7103" y="4114"/>
                <a:ext cx="55" cy="48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3" name="Rectangle 229"/>
              <p:cNvSpPr>
                <a:spLocks noChangeArrowheads="1"/>
              </p:cNvSpPr>
              <p:nvPr/>
            </p:nvSpPr>
            <p:spPr bwMode="auto">
              <a:xfrm>
                <a:off x="7743" y="4115"/>
                <a:ext cx="55" cy="47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4" name="Rectangle 230"/>
              <p:cNvSpPr>
                <a:spLocks noChangeArrowheads="1"/>
              </p:cNvSpPr>
              <p:nvPr/>
            </p:nvSpPr>
            <p:spPr bwMode="auto">
              <a:xfrm>
                <a:off x="7615" y="4115"/>
                <a:ext cx="55" cy="47"/>
              </a:xfrm>
              <a:prstGeom prst="rect">
                <a:avLst/>
              </a:prstGeom>
              <a:solidFill>
                <a:srgbClr val="FFF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5" name="Rectangle 231"/>
              <p:cNvSpPr>
                <a:spLocks noChangeArrowheads="1"/>
              </p:cNvSpPr>
              <p:nvPr/>
            </p:nvSpPr>
            <p:spPr bwMode="auto">
              <a:xfrm>
                <a:off x="7616" y="3905"/>
                <a:ext cx="56" cy="1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6" name="Rectangle 232"/>
              <p:cNvSpPr>
                <a:spLocks noChangeArrowheads="1"/>
              </p:cNvSpPr>
              <p:nvPr/>
            </p:nvSpPr>
            <p:spPr bwMode="auto">
              <a:xfrm>
                <a:off x="7608" y="3961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7" name="Rectangle 233"/>
              <p:cNvSpPr>
                <a:spLocks noChangeArrowheads="1"/>
              </p:cNvSpPr>
              <p:nvPr/>
            </p:nvSpPr>
            <p:spPr bwMode="auto">
              <a:xfrm>
                <a:off x="7745" y="3905"/>
                <a:ext cx="55" cy="116"/>
              </a:xfrm>
              <a:prstGeom prst="rect">
                <a:avLst/>
              </a:prstGeom>
              <a:solidFill>
                <a:srgbClr val="002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8" name="Rectangle 234"/>
              <p:cNvSpPr>
                <a:spLocks noChangeArrowheads="1"/>
              </p:cNvSpPr>
              <p:nvPr/>
            </p:nvSpPr>
            <p:spPr bwMode="auto">
              <a:xfrm>
                <a:off x="7736" y="3961"/>
                <a:ext cx="71" cy="5"/>
              </a:xfrm>
              <a:prstGeom prst="rect">
                <a:avLst/>
              </a:prstGeom>
              <a:solidFill>
                <a:srgbClr val="00B2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9" name="Rectangle 235"/>
              <p:cNvSpPr>
                <a:spLocks noChangeArrowheads="1"/>
              </p:cNvSpPr>
              <p:nvPr/>
            </p:nvSpPr>
            <p:spPr bwMode="auto">
              <a:xfrm>
                <a:off x="7386" y="3900"/>
                <a:ext cx="129" cy="182"/>
              </a:xfrm>
              <a:prstGeom prst="rect">
                <a:avLst/>
              </a:prstGeom>
              <a:solidFill>
                <a:srgbClr val="FFF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0" name="Rectangle 236"/>
              <p:cNvSpPr>
                <a:spLocks noChangeArrowheads="1"/>
              </p:cNvSpPr>
              <p:nvPr/>
            </p:nvSpPr>
            <p:spPr bwMode="auto">
              <a:xfrm>
                <a:off x="7359" y="4094"/>
                <a:ext cx="184" cy="16"/>
              </a:xfrm>
              <a:prstGeom prst="rect">
                <a:avLst/>
              </a:prstGeom>
              <a:solidFill>
                <a:srgbClr val="0077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1" name="Rectangle 237"/>
              <p:cNvSpPr>
                <a:spLocks noChangeArrowheads="1"/>
              </p:cNvSpPr>
              <p:nvPr/>
            </p:nvSpPr>
            <p:spPr bwMode="auto">
              <a:xfrm>
                <a:off x="7343" y="4119"/>
                <a:ext cx="216" cy="14"/>
              </a:xfrm>
              <a:prstGeom prst="rect">
                <a:avLst/>
              </a:prstGeom>
              <a:solidFill>
                <a:srgbClr val="0077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2" name="Rectangle 238"/>
              <p:cNvSpPr>
                <a:spLocks noChangeArrowheads="1"/>
              </p:cNvSpPr>
              <p:nvPr/>
            </p:nvSpPr>
            <p:spPr bwMode="auto">
              <a:xfrm>
                <a:off x="7326" y="4146"/>
                <a:ext cx="251" cy="16"/>
              </a:xfrm>
              <a:prstGeom prst="rect">
                <a:avLst/>
              </a:prstGeom>
              <a:solidFill>
                <a:srgbClr val="0077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3" name="Line 239"/>
              <p:cNvSpPr>
                <a:spLocks noChangeShapeType="1"/>
              </p:cNvSpPr>
              <p:nvPr/>
            </p:nvSpPr>
            <p:spPr bwMode="auto">
              <a:xfrm flipV="1">
                <a:off x="7213" y="3195"/>
                <a:ext cx="0" cy="103"/>
              </a:xfrm>
              <a:prstGeom prst="line">
                <a:avLst/>
              </a:prstGeom>
              <a:noFill/>
              <a:ln w="14288" cap="flat">
                <a:solidFill>
                  <a:srgbClr val="33333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4" name="Line 240"/>
              <p:cNvSpPr>
                <a:spLocks noChangeShapeType="1"/>
              </p:cNvSpPr>
              <p:nvPr/>
            </p:nvSpPr>
            <p:spPr bwMode="auto">
              <a:xfrm flipV="1">
                <a:off x="7265" y="3134"/>
                <a:ext cx="0" cy="164"/>
              </a:xfrm>
              <a:prstGeom prst="line">
                <a:avLst/>
              </a:prstGeom>
              <a:noFill/>
              <a:ln w="14288" cap="flat">
                <a:solidFill>
                  <a:srgbClr val="33333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89" name="Freeform 8"/>
            <p:cNvSpPr>
              <a:spLocks/>
            </p:cNvSpPr>
            <p:nvPr/>
          </p:nvSpPr>
          <p:spPr bwMode="auto">
            <a:xfrm>
              <a:off x="7702101" y="6455555"/>
              <a:ext cx="2309868" cy="538970"/>
            </a:xfrm>
            <a:custGeom>
              <a:avLst/>
              <a:gdLst>
                <a:gd name="T0" fmla="*/ 485 w 784"/>
                <a:gd name="T1" fmla="*/ 29 h 183"/>
                <a:gd name="T2" fmla="*/ 0 w 784"/>
                <a:gd name="T3" fmla="*/ 183 h 183"/>
                <a:gd name="T4" fmla="*/ 277 w 784"/>
                <a:gd name="T5" fmla="*/ 183 h 183"/>
                <a:gd name="T6" fmla="*/ 784 w 784"/>
                <a:gd name="T7" fmla="*/ 183 h 183"/>
                <a:gd name="T8" fmla="*/ 485 w 784"/>
                <a:gd name="T9" fmla="*/ 2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4" h="183">
                  <a:moveTo>
                    <a:pt x="485" y="29"/>
                  </a:moveTo>
                  <a:cubicBezTo>
                    <a:pt x="314" y="0"/>
                    <a:pt x="132" y="51"/>
                    <a:pt x="0" y="183"/>
                  </a:cubicBezTo>
                  <a:cubicBezTo>
                    <a:pt x="277" y="183"/>
                    <a:pt x="277" y="183"/>
                    <a:pt x="277" y="183"/>
                  </a:cubicBezTo>
                  <a:cubicBezTo>
                    <a:pt x="784" y="183"/>
                    <a:pt x="784" y="183"/>
                    <a:pt x="784" y="183"/>
                  </a:cubicBezTo>
                  <a:cubicBezTo>
                    <a:pt x="700" y="99"/>
                    <a:pt x="594" y="47"/>
                    <a:pt x="485" y="29"/>
                  </a:cubicBezTo>
                  <a:close/>
                </a:path>
              </a:pathLst>
            </a:custGeom>
            <a:solidFill>
              <a:srgbClr val="79A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290" name="Freeform 289"/>
            <p:cNvSpPr/>
            <p:nvPr/>
          </p:nvSpPr>
          <p:spPr bwMode="auto">
            <a:xfrm>
              <a:off x="3175637" y="3535680"/>
              <a:ext cx="7157083" cy="2595086"/>
            </a:xfrm>
            <a:custGeom>
              <a:avLst/>
              <a:gdLst>
                <a:gd name="connsiteX0" fmla="*/ 19050 w 7610475"/>
                <a:gd name="connsiteY0" fmla="*/ 4124325 h 4124325"/>
                <a:gd name="connsiteX1" fmla="*/ 0 w 7610475"/>
                <a:gd name="connsiteY1" fmla="*/ 3733800 h 4124325"/>
                <a:gd name="connsiteX2" fmla="*/ 1790700 w 7610475"/>
                <a:gd name="connsiteY2" fmla="*/ 2743200 h 4124325"/>
                <a:gd name="connsiteX3" fmla="*/ 3819525 w 7610475"/>
                <a:gd name="connsiteY3" fmla="*/ 2657475 h 4124325"/>
                <a:gd name="connsiteX4" fmla="*/ 7610475 w 7610475"/>
                <a:gd name="connsiteY4" fmla="*/ 0 h 4124325"/>
                <a:gd name="connsiteX0" fmla="*/ 19050 w 7610475"/>
                <a:gd name="connsiteY0" fmla="*/ 4124325 h 4124325"/>
                <a:gd name="connsiteX1" fmla="*/ 0 w 7610475"/>
                <a:gd name="connsiteY1" fmla="*/ 3733800 h 4124325"/>
                <a:gd name="connsiteX2" fmla="*/ 1790700 w 7610475"/>
                <a:gd name="connsiteY2" fmla="*/ 2743200 h 4124325"/>
                <a:gd name="connsiteX3" fmla="*/ 3825875 w 7610475"/>
                <a:gd name="connsiteY3" fmla="*/ 2682875 h 4124325"/>
                <a:gd name="connsiteX4" fmla="*/ 7610475 w 7610475"/>
                <a:gd name="connsiteY4" fmla="*/ 0 h 4124325"/>
                <a:gd name="connsiteX0" fmla="*/ 19050 w 7610475"/>
                <a:gd name="connsiteY0" fmla="*/ 4124325 h 4124325"/>
                <a:gd name="connsiteX1" fmla="*/ 0 w 7610475"/>
                <a:gd name="connsiteY1" fmla="*/ 3733800 h 4124325"/>
                <a:gd name="connsiteX2" fmla="*/ 1790700 w 7610475"/>
                <a:gd name="connsiteY2" fmla="*/ 2743200 h 4124325"/>
                <a:gd name="connsiteX3" fmla="*/ 3832225 w 7610475"/>
                <a:gd name="connsiteY3" fmla="*/ 2714625 h 4124325"/>
                <a:gd name="connsiteX4" fmla="*/ 7610475 w 7610475"/>
                <a:gd name="connsiteY4" fmla="*/ 0 h 4124325"/>
                <a:gd name="connsiteX0" fmla="*/ 19050 w 7610475"/>
                <a:gd name="connsiteY0" fmla="*/ 4124325 h 4124325"/>
                <a:gd name="connsiteX1" fmla="*/ 0 w 7610475"/>
                <a:gd name="connsiteY1" fmla="*/ 3733800 h 4124325"/>
                <a:gd name="connsiteX2" fmla="*/ 1790700 w 7610475"/>
                <a:gd name="connsiteY2" fmla="*/ 2743200 h 4124325"/>
                <a:gd name="connsiteX3" fmla="*/ 3883025 w 7610475"/>
                <a:gd name="connsiteY3" fmla="*/ 2714625 h 4124325"/>
                <a:gd name="connsiteX4" fmla="*/ 7610475 w 7610475"/>
                <a:gd name="connsiteY4" fmla="*/ 0 h 4124325"/>
                <a:gd name="connsiteX0" fmla="*/ 19050 w 7610475"/>
                <a:gd name="connsiteY0" fmla="*/ 4124325 h 4124325"/>
                <a:gd name="connsiteX1" fmla="*/ 0 w 7610475"/>
                <a:gd name="connsiteY1" fmla="*/ 3733800 h 4124325"/>
                <a:gd name="connsiteX2" fmla="*/ 1790700 w 7610475"/>
                <a:gd name="connsiteY2" fmla="*/ 2743200 h 4124325"/>
                <a:gd name="connsiteX3" fmla="*/ 3876675 w 7610475"/>
                <a:gd name="connsiteY3" fmla="*/ 2708275 h 4124325"/>
                <a:gd name="connsiteX4" fmla="*/ 7610475 w 7610475"/>
                <a:gd name="connsiteY4" fmla="*/ 0 h 4124325"/>
                <a:gd name="connsiteX0" fmla="*/ 19050 w 7610475"/>
                <a:gd name="connsiteY0" fmla="*/ 4124325 h 4124325"/>
                <a:gd name="connsiteX1" fmla="*/ 0 w 7610475"/>
                <a:gd name="connsiteY1" fmla="*/ 3733800 h 4124325"/>
                <a:gd name="connsiteX2" fmla="*/ 1790700 w 7610475"/>
                <a:gd name="connsiteY2" fmla="*/ 2743200 h 4124325"/>
                <a:gd name="connsiteX3" fmla="*/ 3883025 w 7610475"/>
                <a:gd name="connsiteY3" fmla="*/ 2720975 h 4124325"/>
                <a:gd name="connsiteX4" fmla="*/ 7610475 w 7610475"/>
                <a:gd name="connsiteY4" fmla="*/ 0 h 4124325"/>
                <a:gd name="connsiteX0" fmla="*/ 19050 w 7610475"/>
                <a:gd name="connsiteY0" fmla="*/ 4124325 h 4124325"/>
                <a:gd name="connsiteX1" fmla="*/ 0 w 7610475"/>
                <a:gd name="connsiteY1" fmla="*/ 3733800 h 4124325"/>
                <a:gd name="connsiteX2" fmla="*/ 1790700 w 7610475"/>
                <a:gd name="connsiteY2" fmla="*/ 2743200 h 4124325"/>
                <a:gd name="connsiteX3" fmla="*/ 3883025 w 7610475"/>
                <a:gd name="connsiteY3" fmla="*/ 2714625 h 4124325"/>
                <a:gd name="connsiteX4" fmla="*/ 7610475 w 7610475"/>
                <a:gd name="connsiteY4" fmla="*/ 0 h 4124325"/>
                <a:gd name="connsiteX0" fmla="*/ 7144 w 7610475"/>
                <a:gd name="connsiteY0" fmla="*/ 4121944 h 4121944"/>
                <a:gd name="connsiteX1" fmla="*/ 0 w 7610475"/>
                <a:gd name="connsiteY1" fmla="*/ 3733800 h 4121944"/>
                <a:gd name="connsiteX2" fmla="*/ 1790700 w 7610475"/>
                <a:gd name="connsiteY2" fmla="*/ 2743200 h 4121944"/>
                <a:gd name="connsiteX3" fmla="*/ 3883025 w 7610475"/>
                <a:gd name="connsiteY3" fmla="*/ 2714625 h 4121944"/>
                <a:gd name="connsiteX4" fmla="*/ 7610475 w 7610475"/>
                <a:gd name="connsiteY4" fmla="*/ 0 h 4121944"/>
                <a:gd name="connsiteX0" fmla="*/ 14287 w 7610475"/>
                <a:gd name="connsiteY0" fmla="*/ 4124325 h 4124325"/>
                <a:gd name="connsiteX1" fmla="*/ 0 w 7610475"/>
                <a:gd name="connsiteY1" fmla="*/ 3733800 h 4124325"/>
                <a:gd name="connsiteX2" fmla="*/ 1790700 w 7610475"/>
                <a:gd name="connsiteY2" fmla="*/ 2743200 h 4124325"/>
                <a:gd name="connsiteX3" fmla="*/ 3883025 w 7610475"/>
                <a:gd name="connsiteY3" fmla="*/ 2714625 h 4124325"/>
                <a:gd name="connsiteX4" fmla="*/ 7610475 w 7610475"/>
                <a:gd name="connsiteY4" fmla="*/ 0 h 4124325"/>
                <a:gd name="connsiteX0" fmla="*/ 7144 w 7610475"/>
                <a:gd name="connsiteY0" fmla="*/ 4121943 h 4121943"/>
                <a:gd name="connsiteX1" fmla="*/ 0 w 7610475"/>
                <a:gd name="connsiteY1" fmla="*/ 3733800 h 4121943"/>
                <a:gd name="connsiteX2" fmla="*/ 1790700 w 7610475"/>
                <a:gd name="connsiteY2" fmla="*/ 2743200 h 4121943"/>
                <a:gd name="connsiteX3" fmla="*/ 3883025 w 7610475"/>
                <a:gd name="connsiteY3" fmla="*/ 2714625 h 4121943"/>
                <a:gd name="connsiteX4" fmla="*/ 7610475 w 7610475"/>
                <a:gd name="connsiteY4" fmla="*/ 0 h 4121943"/>
                <a:gd name="connsiteX0" fmla="*/ 11907 w 7610475"/>
                <a:gd name="connsiteY0" fmla="*/ 4124324 h 4124324"/>
                <a:gd name="connsiteX1" fmla="*/ 0 w 7610475"/>
                <a:gd name="connsiteY1" fmla="*/ 3733800 h 4124324"/>
                <a:gd name="connsiteX2" fmla="*/ 1790700 w 7610475"/>
                <a:gd name="connsiteY2" fmla="*/ 2743200 h 4124324"/>
                <a:gd name="connsiteX3" fmla="*/ 3883025 w 7610475"/>
                <a:gd name="connsiteY3" fmla="*/ 2714625 h 4124324"/>
                <a:gd name="connsiteX4" fmla="*/ 7610475 w 7610475"/>
                <a:gd name="connsiteY4" fmla="*/ 0 h 4124324"/>
                <a:gd name="connsiteX0" fmla="*/ 7145 w 7610475"/>
                <a:gd name="connsiteY0" fmla="*/ 4121942 h 4121942"/>
                <a:gd name="connsiteX1" fmla="*/ 0 w 7610475"/>
                <a:gd name="connsiteY1" fmla="*/ 3733800 h 4121942"/>
                <a:gd name="connsiteX2" fmla="*/ 1790700 w 7610475"/>
                <a:gd name="connsiteY2" fmla="*/ 2743200 h 4121942"/>
                <a:gd name="connsiteX3" fmla="*/ 3883025 w 7610475"/>
                <a:gd name="connsiteY3" fmla="*/ 2714625 h 4121942"/>
                <a:gd name="connsiteX4" fmla="*/ 7610475 w 7610475"/>
                <a:gd name="connsiteY4" fmla="*/ 0 h 4121942"/>
                <a:gd name="connsiteX0" fmla="*/ 4764 w 7610475"/>
                <a:gd name="connsiteY0" fmla="*/ 4121942 h 4121942"/>
                <a:gd name="connsiteX1" fmla="*/ 0 w 7610475"/>
                <a:gd name="connsiteY1" fmla="*/ 3733800 h 4121942"/>
                <a:gd name="connsiteX2" fmla="*/ 1790700 w 7610475"/>
                <a:gd name="connsiteY2" fmla="*/ 2743200 h 4121942"/>
                <a:gd name="connsiteX3" fmla="*/ 3883025 w 7610475"/>
                <a:gd name="connsiteY3" fmla="*/ 2714625 h 4121942"/>
                <a:gd name="connsiteX4" fmla="*/ 7610475 w 7610475"/>
                <a:gd name="connsiteY4" fmla="*/ 0 h 4121942"/>
                <a:gd name="connsiteX0" fmla="*/ 4764 w 7610475"/>
                <a:gd name="connsiteY0" fmla="*/ 4121942 h 4121942"/>
                <a:gd name="connsiteX1" fmla="*/ 0 w 7610475"/>
                <a:gd name="connsiteY1" fmla="*/ 3733800 h 4121942"/>
                <a:gd name="connsiteX2" fmla="*/ 1790700 w 7610475"/>
                <a:gd name="connsiteY2" fmla="*/ 2743200 h 4121942"/>
                <a:gd name="connsiteX3" fmla="*/ 3883025 w 7610475"/>
                <a:gd name="connsiteY3" fmla="*/ 2714625 h 4121942"/>
                <a:gd name="connsiteX4" fmla="*/ 7610475 w 7610475"/>
                <a:gd name="connsiteY4" fmla="*/ 0 h 4121942"/>
                <a:gd name="connsiteX0" fmla="*/ 4764 w 6619875"/>
                <a:gd name="connsiteY0" fmla="*/ 3451382 h 3451382"/>
                <a:gd name="connsiteX1" fmla="*/ 0 w 6619875"/>
                <a:gd name="connsiteY1" fmla="*/ 3063240 h 3451382"/>
                <a:gd name="connsiteX2" fmla="*/ 1790700 w 6619875"/>
                <a:gd name="connsiteY2" fmla="*/ 2072640 h 3451382"/>
                <a:gd name="connsiteX3" fmla="*/ 3883025 w 6619875"/>
                <a:gd name="connsiteY3" fmla="*/ 2044065 h 3451382"/>
                <a:gd name="connsiteX4" fmla="*/ 6619875 w 6619875"/>
                <a:gd name="connsiteY4" fmla="*/ 0 h 3451382"/>
                <a:gd name="connsiteX0" fmla="*/ 4764 w 6612255"/>
                <a:gd name="connsiteY0" fmla="*/ 3489482 h 3489482"/>
                <a:gd name="connsiteX1" fmla="*/ 0 w 6612255"/>
                <a:gd name="connsiteY1" fmla="*/ 3101340 h 3489482"/>
                <a:gd name="connsiteX2" fmla="*/ 1790700 w 6612255"/>
                <a:gd name="connsiteY2" fmla="*/ 2110740 h 3489482"/>
                <a:gd name="connsiteX3" fmla="*/ 3883025 w 6612255"/>
                <a:gd name="connsiteY3" fmla="*/ 2082165 h 3489482"/>
                <a:gd name="connsiteX4" fmla="*/ 6612255 w 6612255"/>
                <a:gd name="connsiteY4" fmla="*/ 0 h 3489482"/>
                <a:gd name="connsiteX0" fmla="*/ 4764 w 6612255"/>
                <a:gd name="connsiteY0" fmla="*/ 3489482 h 3489482"/>
                <a:gd name="connsiteX1" fmla="*/ 0 w 6612255"/>
                <a:gd name="connsiteY1" fmla="*/ 3101340 h 3489482"/>
                <a:gd name="connsiteX2" fmla="*/ 1790700 w 6612255"/>
                <a:gd name="connsiteY2" fmla="*/ 2110740 h 3489482"/>
                <a:gd name="connsiteX3" fmla="*/ 3873500 w 6612255"/>
                <a:gd name="connsiteY3" fmla="*/ 2101215 h 3489482"/>
                <a:gd name="connsiteX4" fmla="*/ 6612255 w 6612255"/>
                <a:gd name="connsiteY4" fmla="*/ 0 h 3489482"/>
                <a:gd name="connsiteX0" fmla="*/ 4764 w 6612255"/>
                <a:gd name="connsiteY0" fmla="*/ 3489482 h 3489482"/>
                <a:gd name="connsiteX1" fmla="*/ 0 w 6612255"/>
                <a:gd name="connsiteY1" fmla="*/ 3101340 h 3489482"/>
                <a:gd name="connsiteX2" fmla="*/ 1790700 w 6612255"/>
                <a:gd name="connsiteY2" fmla="*/ 2110740 h 3489482"/>
                <a:gd name="connsiteX3" fmla="*/ 3873500 w 6612255"/>
                <a:gd name="connsiteY3" fmla="*/ 2101215 h 3489482"/>
                <a:gd name="connsiteX4" fmla="*/ 5960745 w 6612255"/>
                <a:gd name="connsiteY4" fmla="*/ 512444 h 3489482"/>
                <a:gd name="connsiteX5" fmla="*/ 6612255 w 6612255"/>
                <a:gd name="connsiteY5" fmla="*/ 0 h 3489482"/>
                <a:gd name="connsiteX0" fmla="*/ 4764 w 5960745"/>
                <a:gd name="connsiteY0" fmla="*/ 2977038 h 2977038"/>
                <a:gd name="connsiteX1" fmla="*/ 0 w 5960745"/>
                <a:gd name="connsiteY1" fmla="*/ 2588896 h 2977038"/>
                <a:gd name="connsiteX2" fmla="*/ 1790700 w 5960745"/>
                <a:gd name="connsiteY2" fmla="*/ 1598296 h 2977038"/>
                <a:gd name="connsiteX3" fmla="*/ 3873500 w 5960745"/>
                <a:gd name="connsiteY3" fmla="*/ 1588771 h 2977038"/>
                <a:gd name="connsiteX4" fmla="*/ 5960745 w 5960745"/>
                <a:gd name="connsiteY4" fmla="*/ 0 h 2977038"/>
                <a:gd name="connsiteX0" fmla="*/ 0 w 7152321"/>
                <a:gd name="connsiteY0" fmla="*/ 2618898 h 2618898"/>
                <a:gd name="connsiteX1" fmla="*/ 1191576 w 7152321"/>
                <a:gd name="connsiteY1" fmla="*/ 2588896 h 2618898"/>
                <a:gd name="connsiteX2" fmla="*/ 2982276 w 7152321"/>
                <a:gd name="connsiteY2" fmla="*/ 1598296 h 2618898"/>
                <a:gd name="connsiteX3" fmla="*/ 5065076 w 7152321"/>
                <a:gd name="connsiteY3" fmla="*/ 1588771 h 2618898"/>
                <a:gd name="connsiteX4" fmla="*/ 7152321 w 7152321"/>
                <a:gd name="connsiteY4" fmla="*/ 0 h 2618898"/>
                <a:gd name="connsiteX0" fmla="*/ 0 w 7157083"/>
                <a:gd name="connsiteY0" fmla="*/ 2599848 h 2599848"/>
                <a:gd name="connsiteX1" fmla="*/ 1196338 w 7157083"/>
                <a:gd name="connsiteY1" fmla="*/ 2588896 h 2599848"/>
                <a:gd name="connsiteX2" fmla="*/ 2987038 w 7157083"/>
                <a:gd name="connsiteY2" fmla="*/ 1598296 h 2599848"/>
                <a:gd name="connsiteX3" fmla="*/ 5069838 w 7157083"/>
                <a:gd name="connsiteY3" fmla="*/ 1588771 h 2599848"/>
                <a:gd name="connsiteX4" fmla="*/ 7157083 w 7157083"/>
                <a:gd name="connsiteY4" fmla="*/ 0 h 2599848"/>
                <a:gd name="connsiteX0" fmla="*/ 0 w 7157083"/>
                <a:gd name="connsiteY0" fmla="*/ 2595086 h 2595086"/>
                <a:gd name="connsiteX1" fmla="*/ 1196338 w 7157083"/>
                <a:gd name="connsiteY1" fmla="*/ 2588896 h 2595086"/>
                <a:gd name="connsiteX2" fmla="*/ 2987038 w 7157083"/>
                <a:gd name="connsiteY2" fmla="*/ 1598296 h 2595086"/>
                <a:gd name="connsiteX3" fmla="*/ 5069838 w 7157083"/>
                <a:gd name="connsiteY3" fmla="*/ 1588771 h 2595086"/>
                <a:gd name="connsiteX4" fmla="*/ 7157083 w 7157083"/>
                <a:gd name="connsiteY4" fmla="*/ 0 h 2595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7083" h="2595086">
                  <a:moveTo>
                    <a:pt x="0" y="2595086"/>
                  </a:moveTo>
                  <a:lnTo>
                    <a:pt x="1196338" y="2588896"/>
                  </a:lnTo>
                  <a:lnTo>
                    <a:pt x="2987038" y="1598296"/>
                  </a:lnTo>
                  <a:lnTo>
                    <a:pt x="5069838" y="1588771"/>
                  </a:lnTo>
                  <a:lnTo>
                    <a:pt x="7157083" y="0"/>
                  </a:lnTo>
                </a:path>
              </a:pathLst>
            </a:custGeom>
            <a:noFill/>
            <a:ln w="19050" cap="flat" cmpd="sng" algn="ctr">
              <a:solidFill>
                <a:srgbClr val="505050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1" name="Oval 290"/>
            <p:cNvSpPr/>
            <p:nvPr/>
          </p:nvSpPr>
          <p:spPr bwMode="auto">
            <a:xfrm>
              <a:off x="2880502" y="5610994"/>
              <a:ext cx="901724" cy="901724"/>
            </a:xfrm>
            <a:prstGeom prst="ellipse">
              <a:avLst/>
            </a:prstGeom>
            <a:solidFill>
              <a:srgbClr val="6DC2E9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353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2" name="Oval 1036"/>
            <p:cNvSpPr/>
            <p:nvPr/>
          </p:nvSpPr>
          <p:spPr>
            <a:xfrm>
              <a:off x="3126948" y="5714876"/>
              <a:ext cx="408832" cy="654898"/>
            </a:xfrm>
            <a:custGeom>
              <a:avLst/>
              <a:gdLst/>
              <a:ahLst/>
              <a:cxnLst/>
              <a:rect l="l" t="t" r="r" b="b"/>
              <a:pathLst>
                <a:path w="873694" h="1399546">
                  <a:moveTo>
                    <a:pt x="368268" y="1353826"/>
                  </a:moveTo>
                  <a:lnTo>
                    <a:pt x="505428" y="1353826"/>
                  </a:lnTo>
                  <a:lnTo>
                    <a:pt x="505428" y="1399546"/>
                  </a:lnTo>
                  <a:lnTo>
                    <a:pt x="368268" y="1399546"/>
                  </a:lnTo>
                  <a:close/>
                  <a:moveTo>
                    <a:pt x="298452" y="1288836"/>
                  </a:moveTo>
                  <a:lnTo>
                    <a:pt x="575244" y="1288836"/>
                  </a:lnTo>
                  <a:lnTo>
                    <a:pt x="575244" y="1352844"/>
                  </a:lnTo>
                  <a:lnTo>
                    <a:pt x="298452" y="1352844"/>
                  </a:lnTo>
                  <a:close/>
                  <a:moveTo>
                    <a:pt x="273051" y="1181375"/>
                  </a:moveTo>
                  <a:lnTo>
                    <a:pt x="600645" y="1181375"/>
                  </a:lnTo>
                  <a:lnTo>
                    <a:pt x="600645" y="1245383"/>
                  </a:lnTo>
                  <a:lnTo>
                    <a:pt x="273051" y="1245383"/>
                  </a:lnTo>
                  <a:close/>
                  <a:moveTo>
                    <a:pt x="244760" y="1073915"/>
                  </a:moveTo>
                  <a:lnTo>
                    <a:pt x="628935" y="1073915"/>
                  </a:lnTo>
                  <a:lnTo>
                    <a:pt x="628935" y="1137923"/>
                  </a:lnTo>
                  <a:lnTo>
                    <a:pt x="244760" y="1137923"/>
                  </a:lnTo>
                  <a:close/>
                  <a:moveTo>
                    <a:pt x="436847" y="0"/>
                  </a:moveTo>
                  <a:cubicBezTo>
                    <a:pt x="678111" y="0"/>
                    <a:pt x="873694" y="181797"/>
                    <a:pt x="873694" y="406056"/>
                  </a:cubicBezTo>
                  <a:lnTo>
                    <a:pt x="865469" y="481894"/>
                  </a:lnTo>
                  <a:lnTo>
                    <a:pt x="866615" y="481894"/>
                  </a:lnTo>
                  <a:lnTo>
                    <a:pt x="865050" y="485764"/>
                  </a:lnTo>
                  <a:cubicBezTo>
                    <a:pt x="856692" y="525850"/>
                    <a:pt x="841779" y="563767"/>
                    <a:pt x="819803" y="597610"/>
                  </a:cubicBezTo>
                  <a:cubicBezTo>
                    <a:pt x="757417" y="736579"/>
                    <a:pt x="674367" y="866868"/>
                    <a:pt x="650095" y="1030463"/>
                  </a:cubicBezTo>
                  <a:lnTo>
                    <a:pt x="223599" y="1030463"/>
                  </a:lnTo>
                  <a:cubicBezTo>
                    <a:pt x="196160" y="878092"/>
                    <a:pt x="109005" y="733956"/>
                    <a:pt x="48016" y="587548"/>
                  </a:cubicBezTo>
                  <a:cubicBezTo>
                    <a:pt x="29124" y="556473"/>
                    <a:pt x="16227" y="522121"/>
                    <a:pt x="8670" y="486001"/>
                  </a:cubicBezTo>
                  <a:cubicBezTo>
                    <a:pt x="7945" y="484692"/>
                    <a:pt x="7510" y="483293"/>
                    <a:pt x="7079" y="481894"/>
                  </a:cubicBezTo>
                  <a:lnTo>
                    <a:pt x="8225" y="481894"/>
                  </a:lnTo>
                  <a:cubicBezTo>
                    <a:pt x="2621" y="457409"/>
                    <a:pt x="0" y="432017"/>
                    <a:pt x="0" y="406056"/>
                  </a:cubicBezTo>
                  <a:cubicBezTo>
                    <a:pt x="0" y="181797"/>
                    <a:pt x="195583" y="0"/>
                    <a:pt x="436847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3" name="Oval 292"/>
            <p:cNvSpPr/>
            <p:nvPr/>
          </p:nvSpPr>
          <p:spPr bwMode="auto">
            <a:xfrm>
              <a:off x="6757830" y="4673377"/>
              <a:ext cx="901724" cy="901724"/>
            </a:xfrm>
            <a:prstGeom prst="ellipse">
              <a:avLst/>
            </a:prstGeom>
            <a:solidFill>
              <a:srgbClr val="00B29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353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94" name="Group 293"/>
            <p:cNvGrpSpPr/>
            <p:nvPr/>
          </p:nvGrpSpPr>
          <p:grpSpPr>
            <a:xfrm>
              <a:off x="6946101" y="4858810"/>
              <a:ext cx="525182" cy="530859"/>
              <a:chOff x="6286844" y="2329087"/>
              <a:chExt cx="968505" cy="978974"/>
            </a:xfrm>
            <a:solidFill>
              <a:srgbClr val="FFFFFF"/>
            </a:solidFill>
          </p:grpSpPr>
          <p:sp>
            <p:nvSpPr>
              <p:cNvPr id="492" name="Freeform 491"/>
              <p:cNvSpPr/>
              <p:nvPr/>
            </p:nvSpPr>
            <p:spPr bwMode="auto">
              <a:xfrm rot="1196550">
                <a:off x="6286844" y="2673387"/>
                <a:ext cx="635768" cy="634674"/>
              </a:xfrm>
              <a:custGeom>
                <a:avLst/>
                <a:gdLst>
                  <a:gd name="connsiteX0" fmla="*/ 534897 w 1296109"/>
                  <a:gd name="connsiteY0" fmla="*/ 456519 h 1293879"/>
                  <a:gd name="connsiteX1" fmla="*/ 457634 w 1296109"/>
                  <a:gd name="connsiteY1" fmla="*/ 760098 h 1293879"/>
                  <a:gd name="connsiteX2" fmla="*/ 761213 w 1296109"/>
                  <a:gd name="connsiteY2" fmla="*/ 837361 h 1293879"/>
                  <a:gd name="connsiteX3" fmla="*/ 838476 w 1296109"/>
                  <a:gd name="connsiteY3" fmla="*/ 533782 h 1293879"/>
                  <a:gd name="connsiteX4" fmla="*/ 534897 w 1296109"/>
                  <a:gd name="connsiteY4" fmla="*/ 456519 h 1293879"/>
                  <a:gd name="connsiteX5" fmla="*/ 287047 w 1296109"/>
                  <a:gd name="connsiteY5" fmla="*/ 109549 h 1293879"/>
                  <a:gd name="connsiteX6" fmla="*/ 379506 w 1296109"/>
                  <a:gd name="connsiteY6" fmla="*/ 58788 h 1293879"/>
                  <a:gd name="connsiteX7" fmla="*/ 448512 w 1296109"/>
                  <a:gd name="connsiteY7" fmla="*/ 78879 h 1293879"/>
                  <a:gd name="connsiteX8" fmla="*/ 502583 w 1296109"/>
                  <a:gd name="connsiteY8" fmla="*/ 177363 h 1293879"/>
                  <a:gd name="connsiteX9" fmla="*/ 555952 w 1296109"/>
                  <a:gd name="connsiteY9" fmla="*/ 163545 h 1293879"/>
                  <a:gd name="connsiteX10" fmla="*/ 559855 w 1296109"/>
                  <a:gd name="connsiteY10" fmla="*/ 49089 h 1293879"/>
                  <a:gd name="connsiteX11" fmla="*/ 575956 w 1296109"/>
                  <a:gd name="connsiteY11" fmla="*/ 13682 h 1293879"/>
                  <a:gd name="connsiteX12" fmla="*/ 612379 w 1296109"/>
                  <a:gd name="connsiteY12" fmla="*/ 30 h 1293879"/>
                  <a:gd name="connsiteX13" fmla="*/ 717795 w 1296109"/>
                  <a:gd name="connsiteY13" fmla="*/ 3626 h 1293879"/>
                  <a:gd name="connsiteX14" fmla="*/ 766853 w 1296109"/>
                  <a:gd name="connsiteY14" fmla="*/ 56150 h 1293879"/>
                  <a:gd name="connsiteX15" fmla="*/ 763058 w 1296109"/>
                  <a:gd name="connsiteY15" fmla="*/ 167432 h 1293879"/>
                  <a:gd name="connsiteX16" fmla="*/ 778804 w 1296109"/>
                  <a:gd name="connsiteY16" fmla="*/ 170762 h 1293879"/>
                  <a:gd name="connsiteX17" fmla="*/ 824298 w 1296109"/>
                  <a:gd name="connsiteY17" fmla="*/ 65372 h 1293879"/>
                  <a:gd name="connsiteX18" fmla="*/ 891098 w 1296109"/>
                  <a:gd name="connsiteY18" fmla="*/ 38856 h 1293879"/>
                  <a:gd name="connsiteX19" fmla="*/ 987939 w 1296109"/>
                  <a:gd name="connsiteY19" fmla="*/ 80661 h 1293879"/>
                  <a:gd name="connsiteX20" fmla="*/ 1014455 w 1296109"/>
                  <a:gd name="connsiteY20" fmla="*/ 147460 h 1293879"/>
                  <a:gd name="connsiteX21" fmla="*/ 963838 w 1296109"/>
                  <a:gd name="connsiteY21" fmla="*/ 264716 h 1293879"/>
                  <a:gd name="connsiteX22" fmla="*/ 1004698 w 1296109"/>
                  <a:gd name="connsiteY22" fmla="*/ 303260 h 1293879"/>
                  <a:gd name="connsiteX23" fmla="*/ 1096803 w 1296109"/>
                  <a:gd name="connsiteY23" fmla="*/ 236512 h 1293879"/>
                  <a:gd name="connsiteX24" fmla="*/ 1167775 w 1296109"/>
                  <a:gd name="connsiteY24" fmla="*/ 247842 h 1293879"/>
                  <a:gd name="connsiteX25" fmla="*/ 1229669 w 1296109"/>
                  <a:gd name="connsiteY25" fmla="*/ 333252 h 1293879"/>
                  <a:gd name="connsiteX26" fmla="*/ 1218339 w 1296109"/>
                  <a:gd name="connsiteY26" fmla="*/ 404223 h 1293879"/>
                  <a:gd name="connsiteX27" fmla="*/ 1114924 w 1296109"/>
                  <a:gd name="connsiteY27" fmla="*/ 479166 h 1293879"/>
                  <a:gd name="connsiteX28" fmla="*/ 1118015 w 1296109"/>
                  <a:gd name="connsiteY28" fmla="*/ 489983 h 1293879"/>
                  <a:gd name="connsiteX29" fmla="*/ 1128638 w 1296109"/>
                  <a:gd name="connsiteY29" fmla="*/ 522191 h 1293879"/>
                  <a:gd name="connsiteX30" fmla="*/ 1241513 w 1296109"/>
                  <a:gd name="connsiteY30" fmla="*/ 519465 h 1293879"/>
                  <a:gd name="connsiteX31" fmla="*/ 1293546 w 1296109"/>
                  <a:gd name="connsiteY31" fmla="*/ 569042 h 1293879"/>
                  <a:gd name="connsiteX32" fmla="*/ 1296094 w 1296109"/>
                  <a:gd name="connsiteY32" fmla="*/ 674489 h 1293879"/>
                  <a:gd name="connsiteX33" fmla="*/ 1246516 w 1296109"/>
                  <a:gd name="connsiteY33" fmla="*/ 726522 h 1293879"/>
                  <a:gd name="connsiteX34" fmla="*/ 1138094 w 1296109"/>
                  <a:gd name="connsiteY34" fmla="*/ 729141 h 1293879"/>
                  <a:gd name="connsiteX35" fmla="*/ 1133867 w 1296109"/>
                  <a:gd name="connsiteY35" fmla="*/ 744886 h 1293879"/>
                  <a:gd name="connsiteX36" fmla="*/ 1125064 w 1296109"/>
                  <a:gd name="connsiteY36" fmla="*/ 784697 h 1293879"/>
                  <a:gd name="connsiteX37" fmla="*/ 1223492 w 1296109"/>
                  <a:gd name="connsiteY37" fmla="*/ 840017 h 1293879"/>
                  <a:gd name="connsiteX38" fmla="*/ 1242896 w 1296109"/>
                  <a:gd name="connsiteY38" fmla="*/ 909218 h 1293879"/>
                  <a:gd name="connsiteX39" fmla="*/ 1191218 w 1296109"/>
                  <a:gd name="connsiteY39" fmla="*/ 1001169 h 1293879"/>
                  <a:gd name="connsiteX40" fmla="*/ 1122016 w 1296109"/>
                  <a:gd name="connsiteY40" fmla="*/ 1020573 h 1293879"/>
                  <a:gd name="connsiteX41" fmla="*/ 1027471 w 1296109"/>
                  <a:gd name="connsiteY41" fmla="*/ 967436 h 1293879"/>
                  <a:gd name="connsiteX42" fmla="*/ 987438 w 1296109"/>
                  <a:gd name="connsiteY42" fmla="*/ 1006435 h 1293879"/>
                  <a:gd name="connsiteX43" fmla="*/ 1034590 w 1296109"/>
                  <a:gd name="connsiteY43" fmla="*/ 1119587 h 1293879"/>
                  <a:gd name="connsiteX44" fmla="*/ 1007228 w 1296109"/>
                  <a:gd name="connsiteY44" fmla="*/ 1186045 h 1293879"/>
                  <a:gd name="connsiteX45" fmla="*/ 909865 w 1296109"/>
                  <a:gd name="connsiteY45" fmla="*/ 1226616 h 1293879"/>
                  <a:gd name="connsiteX46" fmla="*/ 843407 w 1296109"/>
                  <a:gd name="connsiteY46" fmla="*/ 1199253 h 1293879"/>
                  <a:gd name="connsiteX47" fmla="*/ 808203 w 1296109"/>
                  <a:gd name="connsiteY47" fmla="*/ 1114771 h 1293879"/>
                  <a:gd name="connsiteX48" fmla="*/ 756458 w 1296109"/>
                  <a:gd name="connsiteY48" fmla="*/ 1127741 h 1293879"/>
                  <a:gd name="connsiteX49" fmla="*/ 739030 w 1296109"/>
                  <a:gd name="connsiteY49" fmla="*/ 1250213 h 1293879"/>
                  <a:gd name="connsiteX50" fmla="*/ 681557 w 1296109"/>
                  <a:gd name="connsiteY50" fmla="*/ 1293366 h 1293879"/>
                  <a:gd name="connsiteX51" fmla="*/ 577132 w 1296109"/>
                  <a:gd name="connsiteY51" fmla="*/ 1278505 h 1293879"/>
                  <a:gd name="connsiteX52" fmla="*/ 533979 w 1296109"/>
                  <a:gd name="connsiteY52" fmla="*/ 1221032 h 1293879"/>
                  <a:gd name="connsiteX53" fmla="*/ 547230 w 1296109"/>
                  <a:gd name="connsiteY53" fmla="*/ 1127913 h 1293879"/>
                  <a:gd name="connsiteX54" fmla="*/ 475304 w 1296109"/>
                  <a:gd name="connsiteY54" fmla="*/ 1105535 h 1293879"/>
                  <a:gd name="connsiteX55" fmla="*/ 416016 w 1296109"/>
                  <a:gd name="connsiteY55" fmla="*/ 1196081 h 1293879"/>
                  <a:gd name="connsiteX56" fmla="*/ 345660 w 1296109"/>
                  <a:gd name="connsiteY56" fmla="*/ 1210759 h 1293879"/>
                  <a:gd name="connsiteX57" fmla="*/ 257416 w 1296109"/>
                  <a:gd name="connsiteY57" fmla="*/ 1152979 h 1293879"/>
                  <a:gd name="connsiteX58" fmla="*/ 242738 w 1296109"/>
                  <a:gd name="connsiteY58" fmla="*/ 1082622 h 1293879"/>
                  <a:gd name="connsiteX59" fmla="*/ 302953 w 1296109"/>
                  <a:gd name="connsiteY59" fmla="*/ 990659 h 1293879"/>
                  <a:gd name="connsiteX60" fmla="*/ 298482 w 1296109"/>
                  <a:gd name="connsiteY60" fmla="*/ 985429 h 1293879"/>
                  <a:gd name="connsiteX61" fmla="*/ 266931 w 1296109"/>
                  <a:gd name="connsiteY61" fmla="*/ 951673 h 1293879"/>
                  <a:gd name="connsiteX62" fmla="*/ 168186 w 1296109"/>
                  <a:gd name="connsiteY62" fmla="*/ 999969 h 1293879"/>
                  <a:gd name="connsiteX63" fmla="*/ 100205 w 1296109"/>
                  <a:gd name="connsiteY63" fmla="*/ 976645 h 1293879"/>
                  <a:gd name="connsiteX64" fmla="*/ 53862 w 1296109"/>
                  <a:gd name="connsiteY64" fmla="*/ 881893 h 1293879"/>
                  <a:gd name="connsiteX65" fmla="*/ 77186 w 1296109"/>
                  <a:gd name="connsiteY65" fmla="*/ 813912 h 1293879"/>
                  <a:gd name="connsiteX66" fmla="*/ 175931 w 1296109"/>
                  <a:gd name="connsiteY66" fmla="*/ 765616 h 1293879"/>
                  <a:gd name="connsiteX67" fmla="*/ 171615 w 1296109"/>
                  <a:gd name="connsiteY67" fmla="*/ 740645 h 1293879"/>
                  <a:gd name="connsiteX68" fmla="*/ 60401 w 1296109"/>
                  <a:gd name="connsiteY68" fmla="*/ 747473 h 1293879"/>
                  <a:gd name="connsiteX69" fmla="*/ 6563 w 1296109"/>
                  <a:gd name="connsiteY69" fmla="*/ 699863 h 1293879"/>
                  <a:gd name="connsiteX70" fmla="*/ 97 w 1296109"/>
                  <a:gd name="connsiteY70" fmla="*/ 594583 h 1293879"/>
                  <a:gd name="connsiteX71" fmla="*/ 47708 w 1296109"/>
                  <a:gd name="connsiteY71" fmla="*/ 540745 h 1293879"/>
                  <a:gd name="connsiteX72" fmla="*/ 173063 w 1296109"/>
                  <a:gd name="connsiteY72" fmla="*/ 533049 h 1293879"/>
                  <a:gd name="connsiteX73" fmla="*/ 189336 w 1296109"/>
                  <a:gd name="connsiteY73" fmla="*/ 482867 h 1293879"/>
                  <a:gd name="connsiteX74" fmla="*/ 91651 w 1296109"/>
                  <a:gd name="connsiteY74" fmla="*/ 432648 h 1293879"/>
                  <a:gd name="connsiteX75" fmla="*/ 69690 w 1296109"/>
                  <a:gd name="connsiteY75" fmla="*/ 364215 h 1293879"/>
                  <a:gd name="connsiteX76" fmla="*/ 117915 w 1296109"/>
                  <a:gd name="connsiteY76" fmla="*/ 270407 h 1293879"/>
                  <a:gd name="connsiteX77" fmla="*/ 186348 w 1296109"/>
                  <a:gd name="connsiteY77" fmla="*/ 248446 h 1293879"/>
                  <a:gd name="connsiteX78" fmla="*/ 297575 w 1296109"/>
                  <a:gd name="connsiteY78" fmla="*/ 305628 h 1293879"/>
                  <a:gd name="connsiteX79" fmla="*/ 323036 w 1296109"/>
                  <a:gd name="connsiteY79" fmla="*/ 280699 h 1293879"/>
                  <a:gd name="connsiteX80" fmla="*/ 266956 w 1296109"/>
                  <a:gd name="connsiteY80" fmla="*/ 178555 h 1293879"/>
                  <a:gd name="connsiteX81" fmla="*/ 262709 w 1296109"/>
                  <a:gd name="connsiteY81" fmla="*/ 139892 h 1293879"/>
                  <a:gd name="connsiteX82" fmla="*/ 287047 w 1296109"/>
                  <a:gd name="connsiteY82" fmla="*/ 109549 h 129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296109" h="1293879">
                    <a:moveTo>
                      <a:pt x="534897" y="456519"/>
                    </a:moveTo>
                    <a:cubicBezTo>
                      <a:pt x="429731" y="519014"/>
                      <a:pt x="395139" y="654931"/>
                      <a:pt x="457634" y="760098"/>
                    </a:cubicBezTo>
                    <a:cubicBezTo>
                      <a:pt x="520129" y="865264"/>
                      <a:pt x="656047" y="899856"/>
                      <a:pt x="761213" y="837361"/>
                    </a:cubicBezTo>
                    <a:cubicBezTo>
                      <a:pt x="866380" y="774865"/>
                      <a:pt x="900972" y="638948"/>
                      <a:pt x="838476" y="533782"/>
                    </a:cubicBezTo>
                    <a:cubicBezTo>
                      <a:pt x="775981" y="428615"/>
                      <a:pt x="640063" y="394023"/>
                      <a:pt x="534897" y="456519"/>
                    </a:cubicBezTo>
                    <a:close/>
                    <a:moveTo>
                      <a:pt x="287047" y="109549"/>
                    </a:moveTo>
                    <a:lnTo>
                      <a:pt x="379506" y="58788"/>
                    </a:lnTo>
                    <a:cubicBezTo>
                      <a:pt x="404109" y="45281"/>
                      <a:pt x="435004" y="54275"/>
                      <a:pt x="448512" y="78879"/>
                    </a:cubicBezTo>
                    <a:lnTo>
                      <a:pt x="502583" y="177363"/>
                    </a:lnTo>
                    <a:lnTo>
                      <a:pt x="555952" y="163545"/>
                    </a:lnTo>
                    <a:lnTo>
                      <a:pt x="559855" y="49089"/>
                    </a:lnTo>
                    <a:cubicBezTo>
                      <a:pt x="560334" y="35063"/>
                      <a:pt x="566452" y="22560"/>
                      <a:pt x="575956" y="13682"/>
                    </a:cubicBezTo>
                    <a:cubicBezTo>
                      <a:pt x="585461" y="4804"/>
                      <a:pt x="598353" y="-448"/>
                      <a:pt x="612379" y="30"/>
                    </a:cubicBezTo>
                    <a:lnTo>
                      <a:pt x="717795" y="3626"/>
                    </a:lnTo>
                    <a:cubicBezTo>
                      <a:pt x="745845" y="4583"/>
                      <a:pt x="767810" y="28098"/>
                      <a:pt x="766853" y="56150"/>
                    </a:cubicBezTo>
                    <a:lnTo>
                      <a:pt x="763058" y="167432"/>
                    </a:lnTo>
                    <a:lnTo>
                      <a:pt x="778804" y="170762"/>
                    </a:lnTo>
                    <a:lnTo>
                      <a:pt x="824298" y="65372"/>
                    </a:lnTo>
                    <a:cubicBezTo>
                      <a:pt x="835423" y="39604"/>
                      <a:pt x="865329" y="27732"/>
                      <a:pt x="891098" y="38856"/>
                    </a:cubicBezTo>
                    <a:lnTo>
                      <a:pt x="987939" y="80661"/>
                    </a:lnTo>
                    <a:cubicBezTo>
                      <a:pt x="1013708" y="91785"/>
                      <a:pt x="1025580" y="121692"/>
                      <a:pt x="1014455" y="147460"/>
                    </a:cubicBezTo>
                    <a:lnTo>
                      <a:pt x="963838" y="264716"/>
                    </a:lnTo>
                    <a:lnTo>
                      <a:pt x="1004698" y="303260"/>
                    </a:lnTo>
                    <a:lnTo>
                      <a:pt x="1096803" y="236512"/>
                    </a:lnTo>
                    <a:cubicBezTo>
                      <a:pt x="1119531" y="220043"/>
                      <a:pt x="1151305" y="225115"/>
                      <a:pt x="1167775" y="247842"/>
                    </a:cubicBezTo>
                    <a:lnTo>
                      <a:pt x="1229669" y="333252"/>
                    </a:lnTo>
                    <a:cubicBezTo>
                      <a:pt x="1246139" y="355979"/>
                      <a:pt x="1241067" y="387754"/>
                      <a:pt x="1218339" y="404223"/>
                    </a:cubicBezTo>
                    <a:lnTo>
                      <a:pt x="1114924" y="479166"/>
                    </a:lnTo>
                    <a:lnTo>
                      <a:pt x="1118015" y="489983"/>
                    </a:lnTo>
                    <a:lnTo>
                      <a:pt x="1128638" y="522191"/>
                    </a:lnTo>
                    <a:lnTo>
                      <a:pt x="1241513" y="519465"/>
                    </a:lnTo>
                    <a:cubicBezTo>
                      <a:pt x="1269572" y="518787"/>
                      <a:pt x="1292868" y="540983"/>
                      <a:pt x="1293546" y="569042"/>
                    </a:cubicBezTo>
                    <a:lnTo>
                      <a:pt x="1296094" y="674489"/>
                    </a:lnTo>
                    <a:cubicBezTo>
                      <a:pt x="1296773" y="702548"/>
                      <a:pt x="1274576" y="725844"/>
                      <a:pt x="1246516" y="726522"/>
                    </a:cubicBezTo>
                    <a:lnTo>
                      <a:pt x="1138094" y="729141"/>
                    </a:lnTo>
                    <a:lnTo>
                      <a:pt x="1133867" y="744886"/>
                    </a:lnTo>
                    <a:lnTo>
                      <a:pt x="1125064" y="784697"/>
                    </a:lnTo>
                    <a:lnTo>
                      <a:pt x="1223492" y="840017"/>
                    </a:lnTo>
                    <a:cubicBezTo>
                      <a:pt x="1247959" y="853768"/>
                      <a:pt x="1256647" y="884750"/>
                      <a:pt x="1242896" y="909218"/>
                    </a:cubicBezTo>
                    <a:lnTo>
                      <a:pt x="1191218" y="1001169"/>
                    </a:lnTo>
                    <a:cubicBezTo>
                      <a:pt x="1177467" y="1025637"/>
                      <a:pt x="1146484" y="1034324"/>
                      <a:pt x="1122016" y="1020573"/>
                    </a:cubicBezTo>
                    <a:lnTo>
                      <a:pt x="1027471" y="967436"/>
                    </a:lnTo>
                    <a:lnTo>
                      <a:pt x="987438" y="1006435"/>
                    </a:lnTo>
                    <a:lnTo>
                      <a:pt x="1034590" y="1119587"/>
                    </a:lnTo>
                    <a:cubicBezTo>
                      <a:pt x="1045387" y="1145494"/>
                      <a:pt x="1033136" y="1175248"/>
                      <a:pt x="1007228" y="1186045"/>
                    </a:cubicBezTo>
                    <a:lnTo>
                      <a:pt x="909865" y="1226616"/>
                    </a:lnTo>
                    <a:cubicBezTo>
                      <a:pt x="883957" y="1237411"/>
                      <a:pt x="854202" y="1225160"/>
                      <a:pt x="843407" y="1199253"/>
                    </a:cubicBezTo>
                    <a:lnTo>
                      <a:pt x="808203" y="1114771"/>
                    </a:lnTo>
                    <a:lnTo>
                      <a:pt x="756458" y="1127741"/>
                    </a:lnTo>
                    <a:lnTo>
                      <a:pt x="739030" y="1250213"/>
                    </a:lnTo>
                    <a:cubicBezTo>
                      <a:pt x="735077" y="1278000"/>
                      <a:pt x="709345" y="1297320"/>
                      <a:pt x="681557" y="1293366"/>
                    </a:cubicBezTo>
                    <a:lnTo>
                      <a:pt x="577132" y="1278505"/>
                    </a:lnTo>
                    <a:cubicBezTo>
                      <a:pt x="549345" y="1274550"/>
                      <a:pt x="530024" y="1248818"/>
                      <a:pt x="533979" y="1221032"/>
                    </a:cubicBezTo>
                    <a:lnTo>
                      <a:pt x="547230" y="1127913"/>
                    </a:lnTo>
                    <a:lnTo>
                      <a:pt x="475304" y="1105535"/>
                    </a:lnTo>
                    <a:lnTo>
                      <a:pt x="416016" y="1196081"/>
                    </a:lnTo>
                    <a:cubicBezTo>
                      <a:pt x="400640" y="1219563"/>
                      <a:pt x="369142" y="1226134"/>
                      <a:pt x="345660" y="1210759"/>
                    </a:cubicBezTo>
                    <a:lnTo>
                      <a:pt x="257416" y="1152979"/>
                    </a:lnTo>
                    <a:cubicBezTo>
                      <a:pt x="233934" y="1137603"/>
                      <a:pt x="227362" y="1106105"/>
                      <a:pt x="242738" y="1082622"/>
                    </a:cubicBezTo>
                    <a:lnTo>
                      <a:pt x="302953" y="990659"/>
                    </a:lnTo>
                    <a:lnTo>
                      <a:pt x="298482" y="985429"/>
                    </a:lnTo>
                    <a:lnTo>
                      <a:pt x="266931" y="951673"/>
                    </a:lnTo>
                    <a:lnTo>
                      <a:pt x="168186" y="999969"/>
                    </a:lnTo>
                    <a:cubicBezTo>
                      <a:pt x="142972" y="1012301"/>
                      <a:pt x="112537" y="1001858"/>
                      <a:pt x="100205" y="976645"/>
                    </a:cubicBezTo>
                    <a:lnTo>
                      <a:pt x="53862" y="881893"/>
                    </a:lnTo>
                    <a:cubicBezTo>
                      <a:pt x="41530" y="856679"/>
                      <a:pt x="51972" y="826244"/>
                      <a:pt x="77186" y="813912"/>
                    </a:cubicBezTo>
                    <a:lnTo>
                      <a:pt x="175931" y="765616"/>
                    </a:lnTo>
                    <a:lnTo>
                      <a:pt x="171615" y="740645"/>
                    </a:lnTo>
                    <a:lnTo>
                      <a:pt x="60401" y="747473"/>
                    </a:lnTo>
                    <a:cubicBezTo>
                      <a:pt x="32387" y="749193"/>
                      <a:pt x="8283" y="727878"/>
                      <a:pt x="6563" y="699863"/>
                    </a:cubicBezTo>
                    <a:lnTo>
                      <a:pt x="97" y="594583"/>
                    </a:lnTo>
                    <a:cubicBezTo>
                      <a:pt x="-1622" y="566569"/>
                      <a:pt x="19693" y="542465"/>
                      <a:pt x="47708" y="540745"/>
                    </a:cubicBezTo>
                    <a:lnTo>
                      <a:pt x="173063" y="533049"/>
                    </a:lnTo>
                    <a:lnTo>
                      <a:pt x="189336" y="482867"/>
                    </a:lnTo>
                    <a:lnTo>
                      <a:pt x="91651" y="432648"/>
                    </a:lnTo>
                    <a:cubicBezTo>
                      <a:pt x="66689" y="419815"/>
                      <a:pt x="56857" y="389177"/>
                      <a:pt x="69690" y="364215"/>
                    </a:cubicBezTo>
                    <a:lnTo>
                      <a:pt x="117915" y="270407"/>
                    </a:lnTo>
                    <a:cubicBezTo>
                      <a:pt x="130748" y="245445"/>
                      <a:pt x="161386" y="235613"/>
                      <a:pt x="186348" y="248446"/>
                    </a:cubicBezTo>
                    <a:lnTo>
                      <a:pt x="297575" y="305628"/>
                    </a:lnTo>
                    <a:lnTo>
                      <a:pt x="323036" y="280699"/>
                    </a:lnTo>
                    <a:lnTo>
                      <a:pt x="266956" y="178555"/>
                    </a:lnTo>
                    <a:cubicBezTo>
                      <a:pt x="260202" y="166253"/>
                      <a:pt x="259075" y="152379"/>
                      <a:pt x="262709" y="139892"/>
                    </a:cubicBezTo>
                    <a:cubicBezTo>
                      <a:pt x="266345" y="127404"/>
                      <a:pt x="274745" y="116303"/>
                      <a:pt x="287047" y="109549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961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Freeform 492"/>
              <p:cNvSpPr/>
              <p:nvPr/>
            </p:nvSpPr>
            <p:spPr bwMode="auto">
              <a:xfrm rot="2952883">
                <a:off x="6784327" y="2329492"/>
                <a:ext cx="471427" cy="470617"/>
              </a:xfrm>
              <a:custGeom>
                <a:avLst/>
                <a:gdLst>
                  <a:gd name="connsiteX0" fmla="*/ 534897 w 1296109"/>
                  <a:gd name="connsiteY0" fmla="*/ 456519 h 1293879"/>
                  <a:gd name="connsiteX1" fmla="*/ 457634 w 1296109"/>
                  <a:gd name="connsiteY1" fmla="*/ 760098 h 1293879"/>
                  <a:gd name="connsiteX2" fmla="*/ 761213 w 1296109"/>
                  <a:gd name="connsiteY2" fmla="*/ 837361 h 1293879"/>
                  <a:gd name="connsiteX3" fmla="*/ 838476 w 1296109"/>
                  <a:gd name="connsiteY3" fmla="*/ 533782 h 1293879"/>
                  <a:gd name="connsiteX4" fmla="*/ 534897 w 1296109"/>
                  <a:gd name="connsiteY4" fmla="*/ 456519 h 1293879"/>
                  <a:gd name="connsiteX5" fmla="*/ 287047 w 1296109"/>
                  <a:gd name="connsiteY5" fmla="*/ 109549 h 1293879"/>
                  <a:gd name="connsiteX6" fmla="*/ 379506 w 1296109"/>
                  <a:gd name="connsiteY6" fmla="*/ 58788 h 1293879"/>
                  <a:gd name="connsiteX7" fmla="*/ 448512 w 1296109"/>
                  <a:gd name="connsiteY7" fmla="*/ 78879 h 1293879"/>
                  <a:gd name="connsiteX8" fmla="*/ 502583 w 1296109"/>
                  <a:gd name="connsiteY8" fmla="*/ 177363 h 1293879"/>
                  <a:gd name="connsiteX9" fmla="*/ 555952 w 1296109"/>
                  <a:gd name="connsiteY9" fmla="*/ 163545 h 1293879"/>
                  <a:gd name="connsiteX10" fmla="*/ 559855 w 1296109"/>
                  <a:gd name="connsiteY10" fmla="*/ 49089 h 1293879"/>
                  <a:gd name="connsiteX11" fmla="*/ 575956 w 1296109"/>
                  <a:gd name="connsiteY11" fmla="*/ 13682 h 1293879"/>
                  <a:gd name="connsiteX12" fmla="*/ 612379 w 1296109"/>
                  <a:gd name="connsiteY12" fmla="*/ 30 h 1293879"/>
                  <a:gd name="connsiteX13" fmla="*/ 717795 w 1296109"/>
                  <a:gd name="connsiteY13" fmla="*/ 3626 h 1293879"/>
                  <a:gd name="connsiteX14" fmla="*/ 766853 w 1296109"/>
                  <a:gd name="connsiteY14" fmla="*/ 56150 h 1293879"/>
                  <a:gd name="connsiteX15" fmla="*/ 763058 w 1296109"/>
                  <a:gd name="connsiteY15" fmla="*/ 167432 h 1293879"/>
                  <a:gd name="connsiteX16" fmla="*/ 778804 w 1296109"/>
                  <a:gd name="connsiteY16" fmla="*/ 170762 h 1293879"/>
                  <a:gd name="connsiteX17" fmla="*/ 824298 w 1296109"/>
                  <a:gd name="connsiteY17" fmla="*/ 65372 h 1293879"/>
                  <a:gd name="connsiteX18" fmla="*/ 891098 w 1296109"/>
                  <a:gd name="connsiteY18" fmla="*/ 38856 h 1293879"/>
                  <a:gd name="connsiteX19" fmla="*/ 987939 w 1296109"/>
                  <a:gd name="connsiteY19" fmla="*/ 80661 h 1293879"/>
                  <a:gd name="connsiteX20" fmla="*/ 1014455 w 1296109"/>
                  <a:gd name="connsiteY20" fmla="*/ 147460 h 1293879"/>
                  <a:gd name="connsiteX21" fmla="*/ 963838 w 1296109"/>
                  <a:gd name="connsiteY21" fmla="*/ 264716 h 1293879"/>
                  <a:gd name="connsiteX22" fmla="*/ 1004698 w 1296109"/>
                  <a:gd name="connsiteY22" fmla="*/ 303260 h 1293879"/>
                  <a:gd name="connsiteX23" fmla="*/ 1096803 w 1296109"/>
                  <a:gd name="connsiteY23" fmla="*/ 236512 h 1293879"/>
                  <a:gd name="connsiteX24" fmla="*/ 1167775 w 1296109"/>
                  <a:gd name="connsiteY24" fmla="*/ 247842 h 1293879"/>
                  <a:gd name="connsiteX25" fmla="*/ 1229669 w 1296109"/>
                  <a:gd name="connsiteY25" fmla="*/ 333252 h 1293879"/>
                  <a:gd name="connsiteX26" fmla="*/ 1218339 w 1296109"/>
                  <a:gd name="connsiteY26" fmla="*/ 404223 h 1293879"/>
                  <a:gd name="connsiteX27" fmla="*/ 1114924 w 1296109"/>
                  <a:gd name="connsiteY27" fmla="*/ 479166 h 1293879"/>
                  <a:gd name="connsiteX28" fmla="*/ 1118015 w 1296109"/>
                  <a:gd name="connsiteY28" fmla="*/ 489983 h 1293879"/>
                  <a:gd name="connsiteX29" fmla="*/ 1128638 w 1296109"/>
                  <a:gd name="connsiteY29" fmla="*/ 522191 h 1293879"/>
                  <a:gd name="connsiteX30" fmla="*/ 1241513 w 1296109"/>
                  <a:gd name="connsiteY30" fmla="*/ 519465 h 1293879"/>
                  <a:gd name="connsiteX31" fmla="*/ 1293546 w 1296109"/>
                  <a:gd name="connsiteY31" fmla="*/ 569042 h 1293879"/>
                  <a:gd name="connsiteX32" fmla="*/ 1296094 w 1296109"/>
                  <a:gd name="connsiteY32" fmla="*/ 674489 h 1293879"/>
                  <a:gd name="connsiteX33" fmla="*/ 1246516 w 1296109"/>
                  <a:gd name="connsiteY33" fmla="*/ 726522 h 1293879"/>
                  <a:gd name="connsiteX34" fmla="*/ 1138094 w 1296109"/>
                  <a:gd name="connsiteY34" fmla="*/ 729141 h 1293879"/>
                  <a:gd name="connsiteX35" fmla="*/ 1133867 w 1296109"/>
                  <a:gd name="connsiteY35" fmla="*/ 744886 h 1293879"/>
                  <a:gd name="connsiteX36" fmla="*/ 1125064 w 1296109"/>
                  <a:gd name="connsiteY36" fmla="*/ 784697 h 1293879"/>
                  <a:gd name="connsiteX37" fmla="*/ 1223492 w 1296109"/>
                  <a:gd name="connsiteY37" fmla="*/ 840017 h 1293879"/>
                  <a:gd name="connsiteX38" fmla="*/ 1242896 w 1296109"/>
                  <a:gd name="connsiteY38" fmla="*/ 909218 h 1293879"/>
                  <a:gd name="connsiteX39" fmla="*/ 1191218 w 1296109"/>
                  <a:gd name="connsiteY39" fmla="*/ 1001169 h 1293879"/>
                  <a:gd name="connsiteX40" fmla="*/ 1122016 w 1296109"/>
                  <a:gd name="connsiteY40" fmla="*/ 1020573 h 1293879"/>
                  <a:gd name="connsiteX41" fmla="*/ 1027471 w 1296109"/>
                  <a:gd name="connsiteY41" fmla="*/ 967436 h 1293879"/>
                  <a:gd name="connsiteX42" fmla="*/ 987438 w 1296109"/>
                  <a:gd name="connsiteY42" fmla="*/ 1006435 h 1293879"/>
                  <a:gd name="connsiteX43" fmla="*/ 1034590 w 1296109"/>
                  <a:gd name="connsiteY43" fmla="*/ 1119587 h 1293879"/>
                  <a:gd name="connsiteX44" fmla="*/ 1007228 w 1296109"/>
                  <a:gd name="connsiteY44" fmla="*/ 1186045 h 1293879"/>
                  <a:gd name="connsiteX45" fmla="*/ 909865 w 1296109"/>
                  <a:gd name="connsiteY45" fmla="*/ 1226616 h 1293879"/>
                  <a:gd name="connsiteX46" fmla="*/ 843407 w 1296109"/>
                  <a:gd name="connsiteY46" fmla="*/ 1199253 h 1293879"/>
                  <a:gd name="connsiteX47" fmla="*/ 808203 w 1296109"/>
                  <a:gd name="connsiteY47" fmla="*/ 1114771 h 1293879"/>
                  <a:gd name="connsiteX48" fmla="*/ 756458 w 1296109"/>
                  <a:gd name="connsiteY48" fmla="*/ 1127741 h 1293879"/>
                  <a:gd name="connsiteX49" fmla="*/ 739030 w 1296109"/>
                  <a:gd name="connsiteY49" fmla="*/ 1250213 h 1293879"/>
                  <a:gd name="connsiteX50" fmla="*/ 681557 w 1296109"/>
                  <a:gd name="connsiteY50" fmla="*/ 1293366 h 1293879"/>
                  <a:gd name="connsiteX51" fmla="*/ 577132 w 1296109"/>
                  <a:gd name="connsiteY51" fmla="*/ 1278505 h 1293879"/>
                  <a:gd name="connsiteX52" fmla="*/ 533979 w 1296109"/>
                  <a:gd name="connsiteY52" fmla="*/ 1221032 h 1293879"/>
                  <a:gd name="connsiteX53" fmla="*/ 547230 w 1296109"/>
                  <a:gd name="connsiteY53" fmla="*/ 1127913 h 1293879"/>
                  <a:gd name="connsiteX54" fmla="*/ 475304 w 1296109"/>
                  <a:gd name="connsiteY54" fmla="*/ 1105535 h 1293879"/>
                  <a:gd name="connsiteX55" fmla="*/ 416016 w 1296109"/>
                  <a:gd name="connsiteY55" fmla="*/ 1196081 h 1293879"/>
                  <a:gd name="connsiteX56" fmla="*/ 345660 w 1296109"/>
                  <a:gd name="connsiteY56" fmla="*/ 1210759 h 1293879"/>
                  <a:gd name="connsiteX57" fmla="*/ 257416 w 1296109"/>
                  <a:gd name="connsiteY57" fmla="*/ 1152979 h 1293879"/>
                  <a:gd name="connsiteX58" fmla="*/ 242738 w 1296109"/>
                  <a:gd name="connsiteY58" fmla="*/ 1082622 h 1293879"/>
                  <a:gd name="connsiteX59" fmla="*/ 302953 w 1296109"/>
                  <a:gd name="connsiteY59" fmla="*/ 990659 h 1293879"/>
                  <a:gd name="connsiteX60" fmla="*/ 298482 w 1296109"/>
                  <a:gd name="connsiteY60" fmla="*/ 985429 h 1293879"/>
                  <a:gd name="connsiteX61" fmla="*/ 266931 w 1296109"/>
                  <a:gd name="connsiteY61" fmla="*/ 951673 h 1293879"/>
                  <a:gd name="connsiteX62" fmla="*/ 168186 w 1296109"/>
                  <a:gd name="connsiteY62" fmla="*/ 999969 h 1293879"/>
                  <a:gd name="connsiteX63" fmla="*/ 100205 w 1296109"/>
                  <a:gd name="connsiteY63" fmla="*/ 976645 h 1293879"/>
                  <a:gd name="connsiteX64" fmla="*/ 53862 w 1296109"/>
                  <a:gd name="connsiteY64" fmla="*/ 881893 h 1293879"/>
                  <a:gd name="connsiteX65" fmla="*/ 77186 w 1296109"/>
                  <a:gd name="connsiteY65" fmla="*/ 813912 h 1293879"/>
                  <a:gd name="connsiteX66" fmla="*/ 175931 w 1296109"/>
                  <a:gd name="connsiteY66" fmla="*/ 765616 h 1293879"/>
                  <a:gd name="connsiteX67" fmla="*/ 171615 w 1296109"/>
                  <a:gd name="connsiteY67" fmla="*/ 740645 h 1293879"/>
                  <a:gd name="connsiteX68" fmla="*/ 60401 w 1296109"/>
                  <a:gd name="connsiteY68" fmla="*/ 747473 h 1293879"/>
                  <a:gd name="connsiteX69" fmla="*/ 6563 w 1296109"/>
                  <a:gd name="connsiteY69" fmla="*/ 699863 h 1293879"/>
                  <a:gd name="connsiteX70" fmla="*/ 97 w 1296109"/>
                  <a:gd name="connsiteY70" fmla="*/ 594583 h 1293879"/>
                  <a:gd name="connsiteX71" fmla="*/ 47708 w 1296109"/>
                  <a:gd name="connsiteY71" fmla="*/ 540745 h 1293879"/>
                  <a:gd name="connsiteX72" fmla="*/ 173063 w 1296109"/>
                  <a:gd name="connsiteY72" fmla="*/ 533049 h 1293879"/>
                  <a:gd name="connsiteX73" fmla="*/ 189336 w 1296109"/>
                  <a:gd name="connsiteY73" fmla="*/ 482867 h 1293879"/>
                  <a:gd name="connsiteX74" fmla="*/ 91651 w 1296109"/>
                  <a:gd name="connsiteY74" fmla="*/ 432648 h 1293879"/>
                  <a:gd name="connsiteX75" fmla="*/ 69690 w 1296109"/>
                  <a:gd name="connsiteY75" fmla="*/ 364215 h 1293879"/>
                  <a:gd name="connsiteX76" fmla="*/ 117915 w 1296109"/>
                  <a:gd name="connsiteY76" fmla="*/ 270407 h 1293879"/>
                  <a:gd name="connsiteX77" fmla="*/ 186348 w 1296109"/>
                  <a:gd name="connsiteY77" fmla="*/ 248446 h 1293879"/>
                  <a:gd name="connsiteX78" fmla="*/ 297575 w 1296109"/>
                  <a:gd name="connsiteY78" fmla="*/ 305628 h 1293879"/>
                  <a:gd name="connsiteX79" fmla="*/ 323036 w 1296109"/>
                  <a:gd name="connsiteY79" fmla="*/ 280699 h 1293879"/>
                  <a:gd name="connsiteX80" fmla="*/ 266956 w 1296109"/>
                  <a:gd name="connsiteY80" fmla="*/ 178555 h 1293879"/>
                  <a:gd name="connsiteX81" fmla="*/ 262709 w 1296109"/>
                  <a:gd name="connsiteY81" fmla="*/ 139892 h 1293879"/>
                  <a:gd name="connsiteX82" fmla="*/ 287047 w 1296109"/>
                  <a:gd name="connsiteY82" fmla="*/ 109549 h 129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296109" h="1293879">
                    <a:moveTo>
                      <a:pt x="534897" y="456519"/>
                    </a:moveTo>
                    <a:cubicBezTo>
                      <a:pt x="429731" y="519014"/>
                      <a:pt x="395139" y="654931"/>
                      <a:pt x="457634" y="760098"/>
                    </a:cubicBezTo>
                    <a:cubicBezTo>
                      <a:pt x="520129" y="865264"/>
                      <a:pt x="656047" y="899856"/>
                      <a:pt x="761213" y="837361"/>
                    </a:cubicBezTo>
                    <a:cubicBezTo>
                      <a:pt x="866380" y="774865"/>
                      <a:pt x="900972" y="638948"/>
                      <a:pt x="838476" y="533782"/>
                    </a:cubicBezTo>
                    <a:cubicBezTo>
                      <a:pt x="775981" y="428615"/>
                      <a:pt x="640063" y="394023"/>
                      <a:pt x="534897" y="456519"/>
                    </a:cubicBezTo>
                    <a:close/>
                    <a:moveTo>
                      <a:pt x="287047" y="109549"/>
                    </a:moveTo>
                    <a:lnTo>
                      <a:pt x="379506" y="58788"/>
                    </a:lnTo>
                    <a:cubicBezTo>
                      <a:pt x="404109" y="45281"/>
                      <a:pt x="435004" y="54275"/>
                      <a:pt x="448512" y="78879"/>
                    </a:cubicBezTo>
                    <a:lnTo>
                      <a:pt x="502583" y="177363"/>
                    </a:lnTo>
                    <a:lnTo>
                      <a:pt x="555952" y="163545"/>
                    </a:lnTo>
                    <a:lnTo>
                      <a:pt x="559855" y="49089"/>
                    </a:lnTo>
                    <a:cubicBezTo>
                      <a:pt x="560334" y="35063"/>
                      <a:pt x="566452" y="22560"/>
                      <a:pt x="575956" y="13682"/>
                    </a:cubicBezTo>
                    <a:cubicBezTo>
                      <a:pt x="585461" y="4804"/>
                      <a:pt x="598353" y="-448"/>
                      <a:pt x="612379" y="30"/>
                    </a:cubicBezTo>
                    <a:lnTo>
                      <a:pt x="717795" y="3626"/>
                    </a:lnTo>
                    <a:cubicBezTo>
                      <a:pt x="745845" y="4583"/>
                      <a:pt x="767810" y="28098"/>
                      <a:pt x="766853" y="56150"/>
                    </a:cubicBezTo>
                    <a:lnTo>
                      <a:pt x="763058" y="167432"/>
                    </a:lnTo>
                    <a:lnTo>
                      <a:pt x="778804" y="170762"/>
                    </a:lnTo>
                    <a:lnTo>
                      <a:pt x="824298" y="65372"/>
                    </a:lnTo>
                    <a:cubicBezTo>
                      <a:pt x="835423" y="39604"/>
                      <a:pt x="865329" y="27732"/>
                      <a:pt x="891098" y="38856"/>
                    </a:cubicBezTo>
                    <a:lnTo>
                      <a:pt x="987939" y="80661"/>
                    </a:lnTo>
                    <a:cubicBezTo>
                      <a:pt x="1013708" y="91785"/>
                      <a:pt x="1025580" y="121692"/>
                      <a:pt x="1014455" y="147460"/>
                    </a:cubicBezTo>
                    <a:lnTo>
                      <a:pt x="963838" y="264716"/>
                    </a:lnTo>
                    <a:lnTo>
                      <a:pt x="1004698" y="303260"/>
                    </a:lnTo>
                    <a:lnTo>
                      <a:pt x="1096803" y="236512"/>
                    </a:lnTo>
                    <a:cubicBezTo>
                      <a:pt x="1119531" y="220043"/>
                      <a:pt x="1151305" y="225115"/>
                      <a:pt x="1167775" y="247842"/>
                    </a:cubicBezTo>
                    <a:lnTo>
                      <a:pt x="1229669" y="333252"/>
                    </a:lnTo>
                    <a:cubicBezTo>
                      <a:pt x="1246139" y="355979"/>
                      <a:pt x="1241067" y="387754"/>
                      <a:pt x="1218339" y="404223"/>
                    </a:cubicBezTo>
                    <a:lnTo>
                      <a:pt x="1114924" y="479166"/>
                    </a:lnTo>
                    <a:lnTo>
                      <a:pt x="1118015" y="489983"/>
                    </a:lnTo>
                    <a:lnTo>
                      <a:pt x="1128638" y="522191"/>
                    </a:lnTo>
                    <a:lnTo>
                      <a:pt x="1241513" y="519465"/>
                    </a:lnTo>
                    <a:cubicBezTo>
                      <a:pt x="1269572" y="518787"/>
                      <a:pt x="1292868" y="540983"/>
                      <a:pt x="1293546" y="569042"/>
                    </a:cubicBezTo>
                    <a:lnTo>
                      <a:pt x="1296094" y="674489"/>
                    </a:lnTo>
                    <a:cubicBezTo>
                      <a:pt x="1296773" y="702548"/>
                      <a:pt x="1274576" y="725844"/>
                      <a:pt x="1246516" y="726522"/>
                    </a:cubicBezTo>
                    <a:lnTo>
                      <a:pt x="1138094" y="729141"/>
                    </a:lnTo>
                    <a:lnTo>
                      <a:pt x="1133867" y="744886"/>
                    </a:lnTo>
                    <a:lnTo>
                      <a:pt x="1125064" y="784697"/>
                    </a:lnTo>
                    <a:lnTo>
                      <a:pt x="1223492" y="840017"/>
                    </a:lnTo>
                    <a:cubicBezTo>
                      <a:pt x="1247959" y="853768"/>
                      <a:pt x="1256647" y="884750"/>
                      <a:pt x="1242896" y="909218"/>
                    </a:cubicBezTo>
                    <a:lnTo>
                      <a:pt x="1191218" y="1001169"/>
                    </a:lnTo>
                    <a:cubicBezTo>
                      <a:pt x="1177467" y="1025637"/>
                      <a:pt x="1146484" y="1034324"/>
                      <a:pt x="1122016" y="1020573"/>
                    </a:cubicBezTo>
                    <a:lnTo>
                      <a:pt x="1027471" y="967436"/>
                    </a:lnTo>
                    <a:lnTo>
                      <a:pt x="987438" y="1006435"/>
                    </a:lnTo>
                    <a:lnTo>
                      <a:pt x="1034590" y="1119587"/>
                    </a:lnTo>
                    <a:cubicBezTo>
                      <a:pt x="1045387" y="1145494"/>
                      <a:pt x="1033136" y="1175248"/>
                      <a:pt x="1007228" y="1186045"/>
                    </a:cubicBezTo>
                    <a:lnTo>
                      <a:pt x="909865" y="1226616"/>
                    </a:lnTo>
                    <a:cubicBezTo>
                      <a:pt x="883957" y="1237411"/>
                      <a:pt x="854202" y="1225160"/>
                      <a:pt x="843407" y="1199253"/>
                    </a:cubicBezTo>
                    <a:lnTo>
                      <a:pt x="808203" y="1114771"/>
                    </a:lnTo>
                    <a:lnTo>
                      <a:pt x="756458" y="1127741"/>
                    </a:lnTo>
                    <a:lnTo>
                      <a:pt x="739030" y="1250213"/>
                    </a:lnTo>
                    <a:cubicBezTo>
                      <a:pt x="735077" y="1278000"/>
                      <a:pt x="709345" y="1297320"/>
                      <a:pt x="681557" y="1293366"/>
                    </a:cubicBezTo>
                    <a:lnTo>
                      <a:pt x="577132" y="1278505"/>
                    </a:lnTo>
                    <a:cubicBezTo>
                      <a:pt x="549345" y="1274550"/>
                      <a:pt x="530024" y="1248818"/>
                      <a:pt x="533979" y="1221032"/>
                    </a:cubicBezTo>
                    <a:lnTo>
                      <a:pt x="547230" y="1127913"/>
                    </a:lnTo>
                    <a:lnTo>
                      <a:pt x="475304" y="1105535"/>
                    </a:lnTo>
                    <a:lnTo>
                      <a:pt x="416016" y="1196081"/>
                    </a:lnTo>
                    <a:cubicBezTo>
                      <a:pt x="400640" y="1219563"/>
                      <a:pt x="369142" y="1226134"/>
                      <a:pt x="345660" y="1210759"/>
                    </a:cubicBezTo>
                    <a:lnTo>
                      <a:pt x="257416" y="1152979"/>
                    </a:lnTo>
                    <a:cubicBezTo>
                      <a:pt x="233934" y="1137603"/>
                      <a:pt x="227362" y="1106105"/>
                      <a:pt x="242738" y="1082622"/>
                    </a:cubicBezTo>
                    <a:lnTo>
                      <a:pt x="302953" y="990659"/>
                    </a:lnTo>
                    <a:lnTo>
                      <a:pt x="298482" y="985429"/>
                    </a:lnTo>
                    <a:lnTo>
                      <a:pt x="266931" y="951673"/>
                    </a:lnTo>
                    <a:lnTo>
                      <a:pt x="168186" y="999969"/>
                    </a:lnTo>
                    <a:cubicBezTo>
                      <a:pt x="142972" y="1012301"/>
                      <a:pt x="112537" y="1001858"/>
                      <a:pt x="100205" y="976645"/>
                    </a:cubicBezTo>
                    <a:lnTo>
                      <a:pt x="53862" y="881893"/>
                    </a:lnTo>
                    <a:cubicBezTo>
                      <a:pt x="41530" y="856679"/>
                      <a:pt x="51972" y="826244"/>
                      <a:pt x="77186" y="813912"/>
                    </a:cubicBezTo>
                    <a:lnTo>
                      <a:pt x="175931" y="765616"/>
                    </a:lnTo>
                    <a:lnTo>
                      <a:pt x="171615" y="740645"/>
                    </a:lnTo>
                    <a:lnTo>
                      <a:pt x="60401" y="747473"/>
                    </a:lnTo>
                    <a:cubicBezTo>
                      <a:pt x="32387" y="749193"/>
                      <a:pt x="8283" y="727878"/>
                      <a:pt x="6563" y="699863"/>
                    </a:cubicBezTo>
                    <a:lnTo>
                      <a:pt x="97" y="594583"/>
                    </a:lnTo>
                    <a:cubicBezTo>
                      <a:pt x="-1622" y="566569"/>
                      <a:pt x="19693" y="542465"/>
                      <a:pt x="47708" y="540745"/>
                    </a:cubicBezTo>
                    <a:lnTo>
                      <a:pt x="173063" y="533049"/>
                    </a:lnTo>
                    <a:lnTo>
                      <a:pt x="189336" y="482867"/>
                    </a:lnTo>
                    <a:lnTo>
                      <a:pt x="91651" y="432648"/>
                    </a:lnTo>
                    <a:cubicBezTo>
                      <a:pt x="66689" y="419815"/>
                      <a:pt x="56857" y="389177"/>
                      <a:pt x="69690" y="364215"/>
                    </a:cubicBezTo>
                    <a:lnTo>
                      <a:pt x="117915" y="270407"/>
                    </a:lnTo>
                    <a:cubicBezTo>
                      <a:pt x="130748" y="245445"/>
                      <a:pt x="161386" y="235613"/>
                      <a:pt x="186348" y="248446"/>
                    </a:cubicBezTo>
                    <a:lnTo>
                      <a:pt x="297575" y="305628"/>
                    </a:lnTo>
                    <a:lnTo>
                      <a:pt x="323036" y="280699"/>
                    </a:lnTo>
                    <a:lnTo>
                      <a:pt x="266956" y="178555"/>
                    </a:lnTo>
                    <a:cubicBezTo>
                      <a:pt x="260202" y="166253"/>
                      <a:pt x="259075" y="152379"/>
                      <a:pt x="262709" y="139892"/>
                    </a:cubicBezTo>
                    <a:cubicBezTo>
                      <a:pt x="266345" y="127404"/>
                      <a:pt x="274745" y="116303"/>
                      <a:pt x="287047" y="109549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961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295" name="Freeform 294"/>
            <p:cNvSpPr>
              <a:spLocks/>
            </p:cNvSpPr>
            <p:nvPr/>
          </p:nvSpPr>
          <p:spPr bwMode="auto">
            <a:xfrm>
              <a:off x="9822042" y="6219081"/>
              <a:ext cx="2628638" cy="775445"/>
            </a:xfrm>
            <a:custGeom>
              <a:avLst/>
              <a:gdLst>
                <a:gd name="connsiteX0" fmla="*/ 1908379 w 2628638"/>
                <a:gd name="connsiteY0" fmla="*/ 269 h 775445"/>
                <a:gd name="connsiteX1" fmla="*/ 2528786 w 2628638"/>
                <a:gd name="connsiteY1" fmla="*/ 82138 h 775445"/>
                <a:gd name="connsiteX2" fmla="*/ 2628638 w 2628638"/>
                <a:gd name="connsiteY2" fmla="*/ 113579 h 775445"/>
                <a:gd name="connsiteX3" fmla="*/ 2628638 w 2628638"/>
                <a:gd name="connsiteY3" fmla="*/ 775445 h 775445"/>
                <a:gd name="connsiteX4" fmla="*/ 2522392 w 2628638"/>
                <a:gd name="connsiteY4" fmla="*/ 775445 h 775445"/>
                <a:gd name="connsiteX5" fmla="*/ 0 w 2628638"/>
                <a:gd name="connsiteY5" fmla="*/ 775445 h 775445"/>
                <a:gd name="connsiteX6" fmla="*/ 1287972 w 2628638"/>
                <a:gd name="connsiteY6" fmla="*/ 64437 h 775445"/>
                <a:gd name="connsiteX7" fmla="*/ 1908379 w 2628638"/>
                <a:gd name="connsiteY7" fmla="*/ 269 h 775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8638" h="775445">
                  <a:moveTo>
                    <a:pt x="1908379" y="269"/>
                  </a:moveTo>
                  <a:cubicBezTo>
                    <a:pt x="2116901" y="3219"/>
                    <a:pt x="2325422" y="30509"/>
                    <a:pt x="2528786" y="82138"/>
                  </a:cubicBezTo>
                  <a:lnTo>
                    <a:pt x="2628638" y="113579"/>
                  </a:lnTo>
                  <a:lnTo>
                    <a:pt x="2628638" y="775445"/>
                  </a:lnTo>
                  <a:lnTo>
                    <a:pt x="2522392" y="775445"/>
                  </a:lnTo>
                  <a:cubicBezTo>
                    <a:pt x="2001861" y="775445"/>
                    <a:pt x="1208671" y="775445"/>
                    <a:pt x="0" y="775445"/>
                  </a:cubicBezTo>
                  <a:cubicBezTo>
                    <a:pt x="368413" y="409615"/>
                    <a:pt x="816403" y="173596"/>
                    <a:pt x="1287972" y="64437"/>
                  </a:cubicBezTo>
                  <a:cubicBezTo>
                    <a:pt x="1491336" y="18708"/>
                    <a:pt x="1699858" y="-2681"/>
                    <a:pt x="1908379" y="269"/>
                  </a:cubicBezTo>
                  <a:close/>
                </a:path>
              </a:pathLst>
            </a:cu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296" name="Freeform 17"/>
            <p:cNvSpPr>
              <a:spLocks/>
            </p:cNvSpPr>
            <p:nvPr/>
          </p:nvSpPr>
          <p:spPr bwMode="auto">
            <a:xfrm>
              <a:off x="10024742" y="6578748"/>
              <a:ext cx="1926601" cy="415777"/>
            </a:xfrm>
            <a:custGeom>
              <a:avLst/>
              <a:gdLst>
                <a:gd name="T0" fmla="*/ 511 w 654"/>
                <a:gd name="T1" fmla="*/ 44 h 141"/>
                <a:gd name="T2" fmla="*/ 404 w 654"/>
                <a:gd name="T3" fmla="*/ 12 h 141"/>
                <a:gd name="T4" fmla="*/ 349 w 654"/>
                <a:gd name="T5" fmla="*/ 6 h 141"/>
                <a:gd name="T6" fmla="*/ 0 w 654"/>
                <a:gd name="T7" fmla="*/ 141 h 141"/>
                <a:gd name="T8" fmla="*/ 231 w 654"/>
                <a:gd name="T9" fmla="*/ 141 h 141"/>
                <a:gd name="T10" fmla="*/ 654 w 654"/>
                <a:gd name="T11" fmla="*/ 141 h 141"/>
                <a:gd name="T12" fmla="*/ 511 w 654"/>
                <a:gd name="T13" fmla="*/ 4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4" h="141">
                  <a:moveTo>
                    <a:pt x="511" y="44"/>
                  </a:moveTo>
                  <a:cubicBezTo>
                    <a:pt x="477" y="29"/>
                    <a:pt x="441" y="18"/>
                    <a:pt x="404" y="12"/>
                  </a:cubicBezTo>
                  <a:cubicBezTo>
                    <a:pt x="386" y="9"/>
                    <a:pt x="367" y="7"/>
                    <a:pt x="349" y="6"/>
                  </a:cubicBezTo>
                  <a:cubicBezTo>
                    <a:pt x="223" y="0"/>
                    <a:pt x="96" y="45"/>
                    <a:pt x="0" y="141"/>
                  </a:cubicBezTo>
                  <a:cubicBezTo>
                    <a:pt x="231" y="141"/>
                    <a:pt x="231" y="141"/>
                    <a:pt x="231" y="141"/>
                  </a:cubicBezTo>
                  <a:cubicBezTo>
                    <a:pt x="654" y="141"/>
                    <a:pt x="654" y="141"/>
                    <a:pt x="654" y="141"/>
                  </a:cubicBezTo>
                  <a:cubicBezTo>
                    <a:pt x="612" y="99"/>
                    <a:pt x="563" y="67"/>
                    <a:pt x="511" y="44"/>
                  </a:cubicBez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297" name="Oval 296"/>
            <p:cNvSpPr/>
            <p:nvPr/>
          </p:nvSpPr>
          <p:spPr bwMode="auto">
            <a:xfrm>
              <a:off x="10248534" y="3452687"/>
              <a:ext cx="186698" cy="186698"/>
            </a:xfrm>
            <a:prstGeom prst="ellipse">
              <a:avLst/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353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8" name="Freeform 5"/>
            <p:cNvSpPr>
              <a:spLocks/>
            </p:cNvSpPr>
            <p:nvPr/>
          </p:nvSpPr>
          <p:spPr bwMode="auto">
            <a:xfrm>
              <a:off x="10659323" y="202712"/>
              <a:ext cx="889391" cy="583663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rgbClr val="00BCF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299" name="Freeform 5"/>
            <p:cNvSpPr>
              <a:spLocks/>
            </p:cNvSpPr>
            <p:nvPr/>
          </p:nvSpPr>
          <p:spPr bwMode="auto">
            <a:xfrm>
              <a:off x="10156082" y="73035"/>
              <a:ext cx="889391" cy="583663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rgbClr val="00BCF2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300" name="Freeform 5"/>
            <p:cNvSpPr>
              <a:spLocks/>
            </p:cNvSpPr>
            <p:nvPr/>
          </p:nvSpPr>
          <p:spPr bwMode="auto">
            <a:xfrm>
              <a:off x="9422958" y="161591"/>
              <a:ext cx="1204169" cy="790237"/>
            </a:xfrm>
            <a:custGeom>
              <a:avLst/>
              <a:gdLst>
                <a:gd name="T0" fmla="*/ 168 w 1054"/>
                <a:gd name="T1" fmla="*/ 303 h 690"/>
                <a:gd name="T2" fmla="*/ 168 w 1054"/>
                <a:gd name="T3" fmla="*/ 289 h 690"/>
                <a:gd name="T4" fmla="*/ 459 w 1054"/>
                <a:gd name="T5" fmla="*/ 0 h 690"/>
                <a:gd name="T6" fmla="*/ 701 w 1054"/>
                <a:gd name="T7" fmla="*/ 129 h 690"/>
                <a:gd name="T8" fmla="*/ 781 w 1054"/>
                <a:gd name="T9" fmla="*/ 108 h 690"/>
                <a:gd name="T10" fmla="*/ 875 w 1054"/>
                <a:gd name="T11" fmla="*/ 136 h 690"/>
                <a:gd name="T12" fmla="*/ 950 w 1054"/>
                <a:gd name="T13" fmla="*/ 272 h 690"/>
                <a:gd name="T14" fmla="*/ 1054 w 1054"/>
                <a:gd name="T15" fmla="*/ 463 h 690"/>
                <a:gd name="T16" fmla="*/ 851 w 1054"/>
                <a:gd name="T17" fmla="*/ 690 h 690"/>
                <a:gd name="T18" fmla="*/ 825 w 1054"/>
                <a:gd name="T19" fmla="*/ 690 h 690"/>
                <a:gd name="T20" fmla="*/ 802 w 1054"/>
                <a:gd name="T21" fmla="*/ 690 h 690"/>
                <a:gd name="T22" fmla="*/ 327 w 1054"/>
                <a:gd name="T23" fmla="*/ 690 h 690"/>
                <a:gd name="T24" fmla="*/ 318 w 1054"/>
                <a:gd name="T25" fmla="*/ 690 h 690"/>
                <a:gd name="T26" fmla="*/ 306 w 1054"/>
                <a:gd name="T27" fmla="*/ 690 h 690"/>
                <a:gd name="T28" fmla="*/ 271 w 1054"/>
                <a:gd name="T29" fmla="*/ 690 h 690"/>
                <a:gd name="T30" fmla="*/ 195 w 1054"/>
                <a:gd name="T31" fmla="*/ 690 h 690"/>
                <a:gd name="T32" fmla="*/ 0 w 1054"/>
                <a:gd name="T33" fmla="*/ 495 h 690"/>
                <a:gd name="T34" fmla="*/ 168 w 1054"/>
                <a:gd name="T35" fmla="*/ 3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4" h="690">
                  <a:moveTo>
                    <a:pt x="168" y="303"/>
                  </a:moveTo>
                  <a:cubicBezTo>
                    <a:pt x="168" y="299"/>
                    <a:pt x="168" y="293"/>
                    <a:pt x="168" y="289"/>
                  </a:cubicBezTo>
                  <a:cubicBezTo>
                    <a:pt x="168" y="129"/>
                    <a:pt x="298" y="0"/>
                    <a:pt x="459" y="0"/>
                  </a:cubicBezTo>
                  <a:cubicBezTo>
                    <a:pt x="560" y="0"/>
                    <a:pt x="649" y="52"/>
                    <a:pt x="701" y="129"/>
                  </a:cubicBezTo>
                  <a:cubicBezTo>
                    <a:pt x="725" y="116"/>
                    <a:pt x="752" y="108"/>
                    <a:pt x="781" y="108"/>
                  </a:cubicBezTo>
                  <a:cubicBezTo>
                    <a:pt x="816" y="108"/>
                    <a:pt x="848" y="118"/>
                    <a:pt x="875" y="136"/>
                  </a:cubicBezTo>
                  <a:cubicBezTo>
                    <a:pt x="919" y="166"/>
                    <a:pt x="948" y="215"/>
                    <a:pt x="950" y="272"/>
                  </a:cubicBezTo>
                  <a:cubicBezTo>
                    <a:pt x="1012" y="312"/>
                    <a:pt x="1054" y="384"/>
                    <a:pt x="1054" y="463"/>
                  </a:cubicBezTo>
                  <a:cubicBezTo>
                    <a:pt x="1054" y="580"/>
                    <a:pt x="965" y="676"/>
                    <a:pt x="851" y="690"/>
                  </a:cubicBezTo>
                  <a:cubicBezTo>
                    <a:pt x="843" y="690"/>
                    <a:pt x="833" y="690"/>
                    <a:pt x="825" y="690"/>
                  </a:cubicBezTo>
                  <a:cubicBezTo>
                    <a:pt x="818" y="690"/>
                    <a:pt x="810" y="690"/>
                    <a:pt x="802" y="690"/>
                  </a:cubicBezTo>
                  <a:cubicBezTo>
                    <a:pt x="696" y="690"/>
                    <a:pt x="446" y="690"/>
                    <a:pt x="327" y="690"/>
                  </a:cubicBezTo>
                  <a:cubicBezTo>
                    <a:pt x="324" y="690"/>
                    <a:pt x="320" y="690"/>
                    <a:pt x="318" y="690"/>
                  </a:cubicBezTo>
                  <a:cubicBezTo>
                    <a:pt x="306" y="690"/>
                    <a:pt x="306" y="690"/>
                    <a:pt x="306" y="690"/>
                  </a:cubicBezTo>
                  <a:cubicBezTo>
                    <a:pt x="300" y="690"/>
                    <a:pt x="283" y="690"/>
                    <a:pt x="271" y="690"/>
                  </a:cubicBezTo>
                  <a:cubicBezTo>
                    <a:pt x="195" y="690"/>
                    <a:pt x="195" y="690"/>
                    <a:pt x="195" y="690"/>
                  </a:cubicBezTo>
                  <a:cubicBezTo>
                    <a:pt x="87" y="688"/>
                    <a:pt x="0" y="601"/>
                    <a:pt x="0" y="495"/>
                  </a:cubicBezTo>
                  <a:cubicBezTo>
                    <a:pt x="0" y="397"/>
                    <a:pt x="73" y="316"/>
                    <a:pt x="168" y="303"/>
                  </a:cubicBezTo>
                  <a:close/>
                </a:path>
              </a:pathLst>
            </a:custGeom>
            <a:solidFill>
              <a:srgbClr val="00BCF2">
                <a:lumMod val="20000"/>
                <a:lumOff val="8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301" name="Oval 300"/>
            <p:cNvSpPr/>
            <p:nvPr/>
          </p:nvSpPr>
          <p:spPr bwMode="auto">
            <a:xfrm>
              <a:off x="5156540" y="5147640"/>
              <a:ext cx="724988" cy="724988"/>
            </a:xfrm>
            <a:prstGeom prst="ellipse">
              <a:avLst/>
            </a:prstGeom>
            <a:solidFill>
              <a:srgbClr val="68217A"/>
            </a:solidFill>
            <a:ln w="285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353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2" name="Oval 301"/>
            <p:cNvSpPr/>
            <p:nvPr/>
          </p:nvSpPr>
          <p:spPr bwMode="auto">
            <a:xfrm>
              <a:off x="8719035" y="4102136"/>
              <a:ext cx="724988" cy="724988"/>
            </a:xfrm>
            <a:prstGeom prst="ellipse">
              <a:avLst/>
            </a:prstGeom>
            <a:solidFill>
              <a:srgbClr val="00BCF2"/>
            </a:solidFill>
            <a:ln w="2857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353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3" name="Freeform 302"/>
            <p:cNvSpPr/>
            <p:nvPr/>
          </p:nvSpPr>
          <p:spPr>
            <a:xfrm flipH="1">
              <a:off x="5314375" y="5258780"/>
              <a:ext cx="352458" cy="488151"/>
            </a:xfrm>
            <a:custGeom>
              <a:avLst/>
              <a:gdLst/>
              <a:ahLst/>
              <a:cxnLst/>
              <a:rect l="l" t="t" r="r" b="b"/>
              <a:pathLst>
                <a:path w="4113311" h="5696905">
                  <a:moveTo>
                    <a:pt x="2085555" y="1762876"/>
                  </a:moveTo>
                  <a:cubicBezTo>
                    <a:pt x="2115521" y="1762876"/>
                    <a:pt x="2139813" y="1787167"/>
                    <a:pt x="2139813" y="1817133"/>
                  </a:cubicBezTo>
                  <a:cubicBezTo>
                    <a:pt x="2139813" y="1847098"/>
                    <a:pt x="2115521" y="1871390"/>
                    <a:pt x="2085555" y="1871390"/>
                  </a:cubicBezTo>
                  <a:cubicBezTo>
                    <a:pt x="2055590" y="1871390"/>
                    <a:pt x="2031298" y="1847098"/>
                    <a:pt x="2031298" y="1817133"/>
                  </a:cubicBezTo>
                  <a:cubicBezTo>
                    <a:pt x="2031298" y="1787167"/>
                    <a:pt x="2055590" y="1762876"/>
                    <a:pt x="2085555" y="1762876"/>
                  </a:cubicBezTo>
                  <a:close/>
                  <a:moveTo>
                    <a:pt x="2085555" y="1730434"/>
                  </a:moveTo>
                  <a:cubicBezTo>
                    <a:pt x="2037673" y="1730434"/>
                    <a:pt x="1998857" y="1769250"/>
                    <a:pt x="1998857" y="1817133"/>
                  </a:cubicBezTo>
                  <a:cubicBezTo>
                    <a:pt x="1998857" y="1865015"/>
                    <a:pt x="2037673" y="1903831"/>
                    <a:pt x="2085555" y="1903831"/>
                  </a:cubicBezTo>
                  <a:cubicBezTo>
                    <a:pt x="2133438" y="1903831"/>
                    <a:pt x="2172254" y="1865015"/>
                    <a:pt x="2172254" y="1817133"/>
                  </a:cubicBezTo>
                  <a:cubicBezTo>
                    <a:pt x="2172254" y="1769250"/>
                    <a:pt x="2133438" y="1730434"/>
                    <a:pt x="2085555" y="1730434"/>
                  </a:cubicBezTo>
                  <a:close/>
                  <a:moveTo>
                    <a:pt x="3113460" y="1725072"/>
                  </a:moveTo>
                  <a:cubicBezTo>
                    <a:pt x="3161959" y="1725072"/>
                    <a:pt x="3201276" y="1764388"/>
                    <a:pt x="3201276" y="1812887"/>
                  </a:cubicBezTo>
                  <a:cubicBezTo>
                    <a:pt x="3201276" y="1861386"/>
                    <a:pt x="3161959" y="1900703"/>
                    <a:pt x="3113460" y="1900703"/>
                  </a:cubicBezTo>
                  <a:cubicBezTo>
                    <a:pt x="3064961" y="1900703"/>
                    <a:pt x="3025645" y="1861386"/>
                    <a:pt x="3025645" y="1812887"/>
                  </a:cubicBezTo>
                  <a:cubicBezTo>
                    <a:pt x="3025645" y="1764388"/>
                    <a:pt x="3064961" y="1725072"/>
                    <a:pt x="3113460" y="1725072"/>
                  </a:cubicBezTo>
                  <a:close/>
                  <a:moveTo>
                    <a:pt x="2085555" y="1697344"/>
                  </a:moveTo>
                  <a:cubicBezTo>
                    <a:pt x="2151713" y="1697344"/>
                    <a:pt x="2205344" y="1750975"/>
                    <a:pt x="2205344" y="1817133"/>
                  </a:cubicBezTo>
                  <a:cubicBezTo>
                    <a:pt x="2205344" y="1883290"/>
                    <a:pt x="2151713" y="1936922"/>
                    <a:pt x="2085555" y="1936922"/>
                  </a:cubicBezTo>
                  <a:cubicBezTo>
                    <a:pt x="2019398" y="1936922"/>
                    <a:pt x="1965766" y="1883290"/>
                    <a:pt x="1965766" y="1817133"/>
                  </a:cubicBezTo>
                  <a:cubicBezTo>
                    <a:pt x="1965766" y="1750975"/>
                    <a:pt x="2019398" y="1697344"/>
                    <a:pt x="2085555" y="1697344"/>
                  </a:cubicBezTo>
                  <a:close/>
                  <a:moveTo>
                    <a:pt x="3113460" y="1672565"/>
                  </a:moveTo>
                  <a:cubicBezTo>
                    <a:pt x="3035962" y="1672565"/>
                    <a:pt x="2973138" y="1735389"/>
                    <a:pt x="2973138" y="1812887"/>
                  </a:cubicBezTo>
                  <a:cubicBezTo>
                    <a:pt x="2973138" y="1890385"/>
                    <a:pt x="3035962" y="1953209"/>
                    <a:pt x="3113460" y="1953209"/>
                  </a:cubicBezTo>
                  <a:cubicBezTo>
                    <a:pt x="3190958" y="1953209"/>
                    <a:pt x="3253782" y="1890385"/>
                    <a:pt x="3253782" y="1812887"/>
                  </a:cubicBezTo>
                  <a:cubicBezTo>
                    <a:pt x="3253782" y="1735389"/>
                    <a:pt x="3190958" y="1672565"/>
                    <a:pt x="3113460" y="1672565"/>
                  </a:cubicBezTo>
                  <a:close/>
                  <a:moveTo>
                    <a:pt x="3113460" y="1619008"/>
                  </a:moveTo>
                  <a:cubicBezTo>
                    <a:pt x="3220536" y="1619008"/>
                    <a:pt x="3307339" y="1705811"/>
                    <a:pt x="3307339" y="1812887"/>
                  </a:cubicBezTo>
                  <a:cubicBezTo>
                    <a:pt x="3307339" y="1919963"/>
                    <a:pt x="3220536" y="2006766"/>
                    <a:pt x="3113460" y="2006766"/>
                  </a:cubicBezTo>
                  <a:cubicBezTo>
                    <a:pt x="3006384" y="2006766"/>
                    <a:pt x="2919581" y="1919963"/>
                    <a:pt x="2919581" y="1812887"/>
                  </a:cubicBezTo>
                  <a:cubicBezTo>
                    <a:pt x="2919581" y="1705811"/>
                    <a:pt x="3006384" y="1619008"/>
                    <a:pt x="3113460" y="1619008"/>
                  </a:cubicBezTo>
                  <a:close/>
                  <a:moveTo>
                    <a:pt x="2032094" y="1611528"/>
                  </a:moveTo>
                  <a:cubicBezTo>
                    <a:pt x="2011771" y="1616567"/>
                    <a:pt x="1992743" y="1624869"/>
                    <a:pt x="1975466" y="1635758"/>
                  </a:cubicBezTo>
                  <a:cubicBezTo>
                    <a:pt x="1992885" y="1656424"/>
                    <a:pt x="1991680" y="1687250"/>
                    <a:pt x="1972334" y="1707168"/>
                  </a:cubicBezTo>
                  <a:cubicBezTo>
                    <a:pt x="1953107" y="1726963"/>
                    <a:pt x="1922590" y="1729162"/>
                    <a:pt x="1901460" y="1712647"/>
                  </a:cubicBezTo>
                  <a:cubicBezTo>
                    <a:pt x="1891894" y="1728283"/>
                    <a:pt x="1884959" y="1745550"/>
                    <a:pt x="1880397" y="1763770"/>
                  </a:cubicBezTo>
                  <a:cubicBezTo>
                    <a:pt x="1907202" y="1766530"/>
                    <a:pt x="1927717" y="1789439"/>
                    <a:pt x="1927717" y="1817140"/>
                  </a:cubicBezTo>
                  <a:cubicBezTo>
                    <a:pt x="1927717" y="1845019"/>
                    <a:pt x="1906937" y="1868044"/>
                    <a:pt x="1879895" y="1870611"/>
                  </a:cubicBezTo>
                  <a:cubicBezTo>
                    <a:pt x="1884447" y="1889071"/>
                    <a:pt x="1891687" y="1906474"/>
                    <a:pt x="1901042" y="1922506"/>
                  </a:cubicBezTo>
                  <a:cubicBezTo>
                    <a:pt x="1922187" y="1905467"/>
                    <a:pt x="1953130" y="1907435"/>
                    <a:pt x="1972598" y="1927382"/>
                  </a:cubicBezTo>
                  <a:cubicBezTo>
                    <a:pt x="1991917" y="1947178"/>
                    <a:pt x="1993260" y="1977842"/>
                    <a:pt x="1976073" y="1998533"/>
                  </a:cubicBezTo>
                  <a:cubicBezTo>
                    <a:pt x="1993132" y="2009339"/>
                    <a:pt x="2012079" y="2017264"/>
                    <a:pt x="2032186" y="2022298"/>
                  </a:cubicBezTo>
                  <a:cubicBezTo>
                    <a:pt x="2034946" y="1995493"/>
                    <a:pt x="2057854" y="1974978"/>
                    <a:pt x="2085555" y="1974978"/>
                  </a:cubicBezTo>
                  <a:cubicBezTo>
                    <a:pt x="2113412" y="1974978"/>
                    <a:pt x="2136423" y="1995724"/>
                    <a:pt x="2139014" y="2022737"/>
                  </a:cubicBezTo>
                  <a:cubicBezTo>
                    <a:pt x="2159316" y="2017685"/>
                    <a:pt x="2178319" y="2009355"/>
                    <a:pt x="2195560" y="1998398"/>
                  </a:cubicBezTo>
                  <a:cubicBezTo>
                    <a:pt x="2178231" y="1977740"/>
                    <a:pt x="2179468" y="1946991"/>
                    <a:pt x="2198777" y="1927110"/>
                  </a:cubicBezTo>
                  <a:cubicBezTo>
                    <a:pt x="2218037" y="1907282"/>
                    <a:pt x="2248625" y="1905109"/>
                    <a:pt x="2269765" y="1921706"/>
                  </a:cubicBezTo>
                  <a:cubicBezTo>
                    <a:pt x="2279283" y="1905972"/>
                    <a:pt x="2286570" y="1888821"/>
                    <a:pt x="2291179" y="1870603"/>
                  </a:cubicBezTo>
                  <a:cubicBezTo>
                    <a:pt x="2264154" y="1868021"/>
                    <a:pt x="2243393" y="1845005"/>
                    <a:pt x="2243393" y="1817140"/>
                  </a:cubicBezTo>
                  <a:cubicBezTo>
                    <a:pt x="2243393" y="1789261"/>
                    <a:pt x="2264174" y="1766235"/>
                    <a:pt x="2291216" y="1763668"/>
                  </a:cubicBezTo>
                  <a:cubicBezTo>
                    <a:pt x="2286664" y="1745207"/>
                    <a:pt x="2279423" y="1727804"/>
                    <a:pt x="2270068" y="1711773"/>
                  </a:cubicBezTo>
                  <a:cubicBezTo>
                    <a:pt x="2248923" y="1728812"/>
                    <a:pt x="2217980" y="1726844"/>
                    <a:pt x="2198513" y="1706897"/>
                  </a:cubicBezTo>
                  <a:cubicBezTo>
                    <a:pt x="2179194" y="1687102"/>
                    <a:pt x="2177850" y="1656438"/>
                    <a:pt x="2195037" y="1635747"/>
                  </a:cubicBezTo>
                  <a:cubicBezTo>
                    <a:pt x="2177979" y="1624941"/>
                    <a:pt x="2159032" y="1617016"/>
                    <a:pt x="2138925" y="1611982"/>
                  </a:cubicBezTo>
                  <a:cubicBezTo>
                    <a:pt x="2136165" y="1638787"/>
                    <a:pt x="2113256" y="1659302"/>
                    <a:pt x="2085555" y="1659302"/>
                  </a:cubicBezTo>
                  <a:cubicBezTo>
                    <a:pt x="2057694" y="1659302"/>
                    <a:pt x="2034680" y="1638547"/>
                    <a:pt x="2032094" y="1611528"/>
                  </a:cubicBezTo>
                  <a:close/>
                  <a:moveTo>
                    <a:pt x="2444733" y="1542732"/>
                  </a:moveTo>
                  <a:cubicBezTo>
                    <a:pt x="2474699" y="1542732"/>
                    <a:pt x="2498991" y="1567024"/>
                    <a:pt x="2498991" y="1596989"/>
                  </a:cubicBezTo>
                  <a:cubicBezTo>
                    <a:pt x="2498991" y="1626955"/>
                    <a:pt x="2474699" y="1651247"/>
                    <a:pt x="2444733" y="1651247"/>
                  </a:cubicBezTo>
                  <a:cubicBezTo>
                    <a:pt x="2414768" y="1651247"/>
                    <a:pt x="2390476" y="1626955"/>
                    <a:pt x="2390476" y="1596989"/>
                  </a:cubicBezTo>
                  <a:cubicBezTo>
                    <a:pt x="2390476" y="1567024"/>
                    <a:pt x="2414768" y="1542732"/>
                    <a:pt x="2444733" y="1542732"/>
                  </a:cubicBezTo>
                  <a:close/>
                  <a:moveTo>
                    <a:pt x="2444733" y="1510291"/>
                  </a:moveTo>
                  <a:cubicBezTo>
                    <a:pt x="2396851" y="1510291"/>
                    <a:pt x="2358035" y="1549107"/>
                    <a:pt x="2358035" y="1596989"/>
                  </a:cubicBezTo>
                  <a:cubicBezTo>
                    <a:pt x="2358035" y="1644872"/>
                    <a:pt x="2396851" y="1683688"/>
                    <a:pt x="2444733" y="1683688"/>
                  </a:cubicBezTo>
                  <a:cubicBezTo>
                    <a:pt x="2492616" y="1683688"/>
                    <a:pt x="2531432" y="1644872"/>
                    <a:pt x="2531432" y="1596989"/>
                  </a:cubicBezTo>
                  <a:cubicBezTo>
                    <a:pt x="2531432" y="1549107"/>
                    <a:pt x="2492616" y="1510291"/>
                    <a:pt x="2444733" y="1510291"/>
                  </a:cubicBezTo>
                  <a:close/>
                  <a:moveTo>
                    <a:pt x="3199983" y="1480116"/>
                  </a:moveTo>
                  <a:cubicBezTo>
                    <a:pt x="3195790" y="1523836"/>
                    <a:pt x="3158547" y="1557415"/>
                    <a:pt x="3113460" y="1557415"/>
                  </a:cubicBezTo>
                  <a:cubicBezTo>
                    <a:pt x="3068626" y="1557415"/>
                    <a:pt x="3031549" y="1524211"/>
                    <a:pt x="3027081" y="1480827"/>
                  </a:cubicBezTo>
                  <a:cubicBezTo>
                    <a:pt x="2994538" y="1488974"/>
                    <a:pt x="2963872" y="1501801"/>
                    <a:pt x="2936263" y="1519290"/>
                  </a:cubicBezTo>
                  <a:cubicBezTo>
                    <a:pt x="2964081" y="1552779"/>
                    <a:pt x="2961907" y="1602409"/>
                    <a:pt x="2930638" y="1634449"/>
                  </a:cubicBezTo>
                  <a:cubicBezTo>
                    <a:pt x="2899130" y="1666733"/>
                    <a:pt x="2849048" y="1669918"/>
                    <a:pt x="2814825" y="1642340"/>
                  </a:cubicBezTo>
                  <a:cubicBezTo>
                    <a:pt x="2799685" y="1668288"/>
                    <a:pt x="2787965" y="1696454"/>
                    <a:pt x="2780598" y="1726333"/>
                  </a:cubicBezTo>
                  <a:cubicBezTo>
                    <a:pt x="2824366" y="1730488"/>
                    <a:pt x="2857999" y="1767754"/>
                    <a:pt x="2857999" y="1812876"/>
                  </a:cubicBezTo>
                  <a:cubicBezTo>
                    <a:pt x="2857999" y="1857710"/>
                    <a:pt x="2824795" y="1894788"/>
                    <a:pt x="2781412" y="1899256"/>
                  </a:cubicBezTo>
                  <a:cubicBezTo>
                    <a:pt x="2788794" y="1928744"/>
                    <a:pt x="2800019" y="1956691"/>
                    <a:pt x="2815501" y="1981998"/>
                  </a:cubicBezTo>
                  <a:cubicBezTo>
                    <a:pt x="2849701" y="1955268"/>
                    <a:pt x="2899093" y="1958828"/>
                    <a:pt x="2930211" y="1990865"/>
                  </a:cubicBezTo>
                  <a:cubicBezTo>
                    <a:pt x="2961522" y="2023103"/>
                    <a:pt x="2963473" y="2072994"/>
                    <a:pt x="2935281" y="2106443"/>
                  </a:cubicBezTo>
                  <a:cubicBezTo>
                    <a:pt x="2963243" y="2124067"/>
                    <a:pt x="2994040" y="2137503"/>
                    <a:pt x="3026933" y="2145659"/>
                  </a:cubicBezTo>
                  <a:cubicBezTo>
                    <a:pt x="3031118" y="2101929"/>
                    <a:pt x="3068366" y="2068338"/>
                    <a:pt x="3113460" y="2068338"/>
                  </a:cubicBezTo>
                  <a:cubicBezTo>
                    <a:pt x="3158293" y="2068338"/>
                    <a:pt x="3195372" y="2101541"/>
                    <a:pt x="3199839" y="2144925"/>
                  </a:cubicBezTo>
                  <a:cubicBezTo>
                    <a:pt x="3232382" y="2136777"/>
                    <a:pt x="3263048" y="2123950"/>
                    <a:pt x="3290656" y="2106462"/>
                  </a:cubicBezTo>
                  <a:cubicBezTo>
                    <a:pt x="3262840" y="2072972"/>
                    <a:pt x="3265014" y="2023343"/>
                    <a:pt x="3296282" y="1991304"/>
                  </a:cubicBezTo>
                  <a:cubicBezTo>
                    <a:pt x="3327790" y="1959020"/>
                    <a:pt x="3377871" y="1955835"/>
                    <a:pt x="3412094" y="1983412"/>
                  </a:cubicBezTo>
                  <a:cubicBezTo>
                    <a:pt x="3427236" y="1957466"/>
                    <a:pt x="3438955" y="1929299"/>
                    <a:pt x="3446322" y="1899420"/>
                  </a:cubicBezTo>
                  <a:cubicBezTo>
                    <a:pt x="3402554" y="1895265"/>
                    <a:pt x="3368922" y="1857998"/>
                    <a:pt x="3368922" y="1812876"/>
                  </a:cubicBezTo>
                  <a:cubicBezTo>
                    <a:pt x="3368922" y="1767776"/>
                    <a:pt x="3402522" y="1730524"/>
                    <a:pt x="3446262" y="1726345"/>
                  </a:cubicBezTo>
                  <a:cubicBezTo>
                    <a:pt x="3438803" y="1696859"/>
                    <a:pt x="3427009" y="1669100"/>
                    <a:pt x="3411605" y="1643635"/>
                  </a:cubicBezTo>
                  <a:cubicBezTo>
                    <a:pt x="3377390" y="1670497"/>
                    <a:pt x="3327882" y="1666981"/>
                    <a:pt x="3296711" y="1634888"/>
                  </a:cubicBezTo>
                  <a:cubicBezTo>
                    <a:pt x="3265458" y="1602711"/>
                    <a:pt x="3263456" y="1552945"/>
                    <a:pt x="3291503" y="1519509"/>
                  </a:cubicBezTo>
                  <a:cubicBezTo>
                    <a:pt x="3263599" y="1501775"/>
                    <a:pt x="3232843" y="1488292"/>
                    <a:pt x="3199983" y="1480116"/>
                  </a:cubicBezTo>
                  <a:close/>
                  <a:moveTo>
                    <a:pt x="2444733" y="1477200"/>
                  </a:moveTo>
                  <a:cubicBezTo>
                    <a:pt x="2510891" y="1477200"/>
                    <a:pt x="2564522" y="1530832"/>
                    <a:pt x="2564522" y="1596989"/>
                  </a:cubicBezTo>
                  <a:cubicBezTo>
                    <a:pt x="2564522" y="1663147"/>
                    <a:pt x="2510891" y="1716778"/>
                    <a:pt x="2444733" y="1716778"/>
                  </a:cubicBezTo>
                  <a:cubicBezTo>
                    <a:pt x="2378576" y="1716778"/>
                    <a:pt x="2324944" y="1663147"/>
                    <a:pt x="2324944" y="1596989"/>
                  </a:cubicBezTo>
                  <a:cubicBezTo>
                    <a:pt x="2324944" y="1530832"/>
                    <a:pt x="2378576" y="1477200"/>
                    <a:pt x="2444733" y="1477200"/>
                  </a:cubicBezTo>
                  <a:close/>
                  <a:moveTo>
                    <a:pt x="1387290" y="1469477"/>
                  </a:moveTo>
                  <a:cubicBezTo>
                    <a:pt x="1435789" y="1469477"/>
                    <a:pt x="1475105" y="1508794"/>
                    <a:pt x="1475105" y="1557293"/>
                  </a:cubicBezTo>
                  <a:cubicBezTo>
                    <a:pt x="1475105" y="1605792"/>
                    <a:pt x="1435789" y="1645109"/>
                    <a:pt x="1387290" y="1645109"/>
                  </a:cubicBezTo>
                  <a:cubicBezTo>
                    <a:pt x="1338791" y="1645109"/>
                    <a:pt x="1299474" y="1605792"/>
                    <a:pt x="1299474" y="1557293"/>
                  </a:cubicBezTo>
                  <a:cubicBezTo>
                    <a:pt x="1299474" y="1508794"/>
                    <a:pt x="1338791" y="1469477"/>
                    <a:pt x="1387290" y="1469477"/>
                  </a:cubicBezTo>
                  <a:close/>
                  <a:moveTo>
                    <a:pt x="1387290" y="1416971"/>
                  </a:moveTo>
                  <a:cubicBezTo>
                    <a:pt x="1309792" y="1416971"/>
                    <a:pt x="1246968" y="1479795"/>
                    <a:pt x="1246968" y="1557293"/>
                  </a:cubicBezTo>
                  <a:cubicBezTo>
                    <a:pt x="1246968" y="1634791"/>
                    <a:pt x="1309792" y="1697615"/>
                    <a:pt x="1387290" y="1697615"/>
                  </a:cubicBezTo>
                  <a:cubicBezTo>
                    <a:pt x="1464788" y="1697615"/>
                    <a:pt x="1527612" y="1634791"/>
                    <a:pt x="1527612" y="1557293"/>
                  </a:cubicBezTo>
                  <a:cubicBezTo>
                    <a:pt x="1527612" y="1479795"/>
                    <a:pt x="1464788" y="1416971"/>
                    <a:pt x="1387290" y="1416971"/>
                  </a:cubicBezTo>
                  <a:close/>
                  <a:moveTo>
                    <a:pt x="2498192" y="1391385"/>
                  </a:moveTo>
                  <a:cubicBezTo>
                    <a:pt x="2495601" y="1418398"/>
                    <a:pt x="2472590" y="1439144"/>
                    <a:pt x="2444733" y="1439144"/>
                  </a:cubicBezTo>
                  <a:cubicBezTo>
                    <a:pt x="2417032" y="1439144"/>
                    <a:pt x="2394124" y="1418630"/>
                    <a:pt x="2391364" y="1391824"/>
                  </a:cubicBezTo>
                  <a:cubicBezTo>
                    <a:pt x="2371257" y="1396858"/>
                    <a:pt x="2352310" y="1404783"/>
                    <a:pt x="2335251" y="1415589"/>
                  </a:cubicBezTo>
                  <a:cubicBezTo>
                    <a:pt x="2352438" y="1436280"/>
                    <a:pt x="2351095" y="1466944"/>
                    <a:pt x="2331776" y="1486740"/>
                  </a:cubicBezTo>
                  <a:cubicBezTo>
                    <a:pt x="2312308" y="1506687"/>
                    <a:pt x="2281365" y="1508655"/>
                    <a:pt x="2260220" y="1491616"/>
                  </a:cubicBezTo>
                  <a:cubicBezTo>
                    <a:pt x="2250865" y="1507648"/>
                    <a:pt x="2243625" y="1525051"/>
                    <a:pt x="2239073" y="1543511"/>
                  </a:cubicBezTo>
                  <a:cubicBezTo>
                    <a:pt x="2266115" y="1546079"/>
                    <a:pt x="2286895" y="1569104"/>
                    <a:pt x="2286895" y="1596983"/>
                  </a:cubicBezTo>
                  <a:cubicBezTo>
                    <a:pt x="2286895" y="1624683"/>
                    <a:pt x="2266380" y="1647592"/>
                    <a:pt x="2239575" y="1650353"/>
                  </a:cubicBezTo>
                  <a:cubicBezTo>
                    <a:pt x="2244137" y="1668572"/>
                    <a:pt x="2251072" y="1685839"/>
                    <a:pt x="2260638" y="1701476"/>
                  </a:cubicBezTo>
                  <a:cubicBezTo>
                    <a:pt x="2281768" y="1684960"/>
                    <a:pt x="2312285" y="1687159"/>
                    <a:pt x="2331512" y="1706954"/>
                  </a:cubicBezTo>
                  <a:cubicBezTo>
                    <a:pt x="2350858" y="1726872"/>
                    <a:pt x="2352063" y="1757698"/>
                    <a:pt x="2334644" y="1778364"/>
                  </a:cubicBezTo>
                  <a:cubicBezTo>
                    <a:pt x="2351921" y="1789253"/>
                    <a:pt x="2370949" y="1797555"/>
                    <a:pt x="2391272" y="1802594"/>
                  </a:cubicBezTo>
                  <a:cubicBezTo>
                    <a:pt x="2393858" y="1775575"/>
                    <a:pt x="2416872" y="1754821"/>
                    <a:pt x="2444733" y="1754821"/>
                  </a:cubicBezTo>
                  <a:cubicBezTo>
                    <a:pt x="2472434" y="1754821"/>
                    <a:pt x="2495343" y="1775336"/>
                    <a:pt x="2498103" y="1802140"/>
                  </a:cubicBezTo>
                  <a:cubicBezTo>
                    <a:pt x="2518210" y="1797106"/>
                    <a:pt x="2537157" y="1789181"/>
                    <a:pt x="2554215" y="1778376"/>
                  </a:cubicBezTo>
                  <a:cubicBezTo>
                    <a:pt x="2537028" y="1757684"/>
                    <a:pt x="2538372" y="1727021"/>
                    <a:pt x="2557691" y="1707225"/>
                  </a:cubicBezTo>
                  <a:cubicBezTo>
                    <a:pt x="2577158" y="1687278"/>
                    <a:pt x="2608101" y="1685310"/>
                    <a:pt x="2629246" y="1702349"/>
                  </a:cubicBezTo>
                  <a:cubicBezTo>
                    <a:pt x="2638601" y="1686318"/>
                    <a:pt x="2645842" y="1668915"/>
                    <a:pt x="2650394" y="1650454"/>
                  </a:cubicBezTo>
                  <a:cubicBezTo>
                    <a:pt x="2623352" y="1647887"/>
                    <a:pt x="2602571" y="1624862"/>
                    <a:pt x="2602571" y="1596983"/>
                  </a:cubicBezTo>
                  <a:cubicBezTo>
                    <a:pt x="2602571" y="1569117"/>
                    <a:pt x="2623332" y="1546101"/>
                    <a:pt x="2650357" y="1543519"/>
                  </a:cubicBezTo>
                  <a:cubicBezTo>
                    <a:pt x="2645748" y="1525301"/>
                    <a:pt x="2638461" y="1508150"/>
                    <a:pt x="2628943" y="1492416"/>
                  </a:cubicBezTo>
                  <a:cubicBezTo>
                    <a:pt x="2607803" y="1509013"/>
                    <a:pt x="2577215" y="1506840"/>
                    <a:pt x="2557955" y="1487012"/>
                  </a:cubicBezTo>
                  <a:cubicBezTo>
                    <a:pt x="2538646" y="1467131"/>
                    <a:pt x="2537409" y="1436383"/>
                    <a:pt x="2554738" y="1415724"/>
                  </a:cubicBezTo>
                  <a:cubicBezTo>
                    <a:pt x="2537497" y="1404767"/>
                    <a:pt x="2518494" y="1396437"/>
                    <a:pt x="2498192" y="1391385"/>
                  </a:cubicBezTo>
                  <a:close/>
                  <a:moveTo>
                    <a:pt x="1387290" y="1363414"/>
                  </a:moveTo>
                  <a:cubicBezTo>
                    <a:pt x="1494366" y="1363414"/>
                    <a:pt x="1581169" y="1450217"/>
                    <a:pt x="1581169" y="1557293"/>
                  </a:cubicBezTo>
                  <a:cubicBezTo>
                    <a:pt x="1581169" y="1664369"/>
                    <a:pt x="1494366" y="1751172"/>
                    <a:pt x="1387290" y="1751172"/>
                  </a:cubicBezTo>
                  <a:cubicBezTo>
                    <a:pt x="1280214" y="1751172"/>
                    <a:pt x="1193411" y="1664369"/>
                    <a:pt x="1193411" y="1557293"/>
                  </a:cubicBezTo>
                  <a:cubicBezTo>
                    <a:pt x="1193411" y="1450217"/>
                    <a:pt x="1280214" y="1363414"/>
                    <a:pt x="1387290" y="1363414"/>
                  </a:cubicBezTo>
                  <a:close/>
                  <a:moveTo>
                    <a:pt x="2767883" y="1332598"/>
                  </a:moveTo>
                  <a:cubicBezTo>
                    <a:pt x="2797849" y="1332598"/>
                    <a:pt x="2822141" y="1356890"/>
                    <a:pt x="2822141" y="1386855"/>
                  </a:cubicBezTo>
                  <a:cubicBezTo>
                    <a:pt x="2822141" y="1416821"/>
                    <a:pt x="2797849" y="1441112"/>
                    <a:pt x="2767883" y="1441112"/>
                  </a:cubicBezTo>
                  <a:cubicBezTo>
                    <a:pt x="2737918" y="1441112"/>
                    <a:pt x="2713626" y="1416821"/>
                    <a:pt x="2713626" y="1386855"/>
                  </a:cubicBezTo>
                  <a:cubicBezTo>
                    <a:pt x="2713626" y="1356890"/>
                    <a:pt x="2737918" y="1332598"/>
                    <a:pt x="2767883" y="1332598"/>
                  </a:cubicBezTo>
                  <a:close/>
                  <a:moveTo>
                    <a:pt x="2085555" y="1315504"/>
                  </a:moveTo>
                  <a:cubicBezTo>
                    <a:pt x="2115521" y="1315504"/>
                    <a:pt x="2139813" y="1339796"/>
                    <a:pt x="2139813" y="1369762"/>
                  </a:cubicBezTo>
                  <a:cubicBezTo>
                    <a:pt x="2139813" y="1399727"/>
                    <a:pt x="2115521" y="1424019"/>
                    <a:pt x="2085555" y="1424019"/>
                  </a:cubicBezTo>
                  <a:cubicBezTo>
                    <a:pt x="2055590" y="1424019"/>
                    <a:pt x="2031298" y="1399727"/>
                    <a:pt x="2031298" y="1369762"/>
                  </a:cubicBezTo>
                  <a:cubicBezTo>
                    <a:pt x="2031298" y="1339796"/>
                    <a:pt x="2055590" y="1315504"/>
                    <a:pt x="2085555" y="1315504"/>
                  </a:cubicBezTo>
                  <a:close/>
                  <a:moveTo>
                    <a:pt x="2767883" y="1300157"/>
                  </a:moveTo>
                  <a:cubicBezTo>
                    <a:pt x="2720001" y="1300157"/>
                    <a:pt x="2681185" y="1338973"/>
                    <a:pt x="2681185" y="1386855"/>
                  </a:cubicBezTo>
                  <a:cubicBezTo>
                    <a:pt x="2681185" y="1434738"/>
                    <a:pt x="2720001" y="1473554"/>
                    <a:pt x="2767883" y="1473554"/>
                  </a:cubicBezTo>
                  <a:cubicBezTo>
                    <a:pt x="2815766" y="1473554"/>
                    <a:pt x="2854582" y="1434738"/>
                    <a:pt x="2854582" y="1386855"/>
                  </a:cubicBezTo>
                  <a:cubicBezTo>
                    <a:pt x="2854582" y="1338973"/>
                    <a:pt x="2815766" y="1300157"/>
                    <a:pt x="2767883" y="1300157"/>
                  </a:cubicBezTo>
                  <a:close/>
                  <a:moveTo>
                    <a:pt x="2085555" y="1283063"/>
                  </a:moveTo>
                  <a:cubicBezTo>
                    <a:pt x="2037673" y="1283063"/>
                    <a:pt x="1998857" y="1321879"/>
                    <a:pt x="1998857" y="1369762"/>
                  </a:cubicBezTo>
                  <a:cubicBezTo>
                    <a:pt x="1998857" y="1417644"/>
                    <a:pt x="2037673" y="1456460"/>
                    <a:pt x="2085555" y="1456460"/>
                  </a:cubicBezTo>
                  <a:cubicBezTo>
                    <a:pt x="2133438" y="1456460"/>
                    <a:pt x="2172254" y="1417644"/>
                    <a:pt x="2172254" y="1369762"/>
                  </a:cubicBezTo>
                  <a:cubicBezTo>
                    <a:pt x="2172254" y="1321879"/>
                    <a:pt x="2133438" y="1283063"/>
                    <a:pt x="2085555" y="1283063"/>
                  </a:cubicBezTo>
                  <a:close/>
                  <a:moveTo>
                    <a:pt x="2767883" y="1267066"/>
                  </a:moveTo>
                  <a:cubicBezTo>
                    <a:pt x="2834041" y="1267066"/>
                    <a:pt x="2887673" y="1320698"/>
                    <a:pt x="2887673" y="1386855"/>
                  </a:cubicBezTo>
                  <a:cubicBezTo>
                    <a:pt x="2887673" y="1453013"/>
                    <a:pt x="2834041" y="1506644"/>
                    <a:pt x="2767883" y="1506644"/>
                  </a:cubicBezTo>
                  <a:cubicBezTo>
                    <a:pt x="2701726" y="1506644"/>
                    <a:pt x="2648094" y="1453013"/>
                    <a:pt x="2648094" y="1386855"/>
                  </a:cubicBezTo>
                  <a:cubicBezTo>
                    <a:pt x="2648094" y="1320698"/>
                    <a:pt x="2701726" y="1267066"/>
                    <a:pt x="2767883" y="1267066"/>
                  </a:cubicBezTo>
                  <a:close/>
                  <a:moveTo>
                    <a:pt x="2085555" y="1249973"/>
                  </a:moveTo>
                  <a:cubicBezTo>
                    <a:pt x="2151713" y="1249973"/>
                    <a:pt x="2205344" y="1303604"/>
                    <a:pt x="2205344" y="1369762"/>
                  </a:cubicBezTo>
                  <a:cubicBezTo>
                    <a:pt x="2205344" y="1435919"/>
                    <a:pt x="2151713" y="1489551"/>
                    <a:pt x="2085555" y="1489551"/>
                  </a:cubicBezTo>
                  <a:cubicBezTo>
                    <a:pt x="2019398" y="1489551"/>
                    <a:pt x="1965766" y="1435919"/>
                    <a:pt x="1965766" y="1369762"/>
                  </a:cubicBezTo>
                  <a:cubicBezTo>
                    <a:pt x="1965766" y="1303604"/>
                    <a:pt x="2019398" y="1249973"/>
                    <a:pt x="2085555" y="1249973"/>
                  </a:cubicBezTo>
                  <a:close/>
                  <a:moveTo>
                    <a:pt x="1300767" y="1224522"/>
                  </a:moveTo>
                  <a:cubicBezTo>
                    <a:pt x="1267907" y="1232698"/>
                    <a:pt x="1237151" y="1246181"/>
                    <a:pt x="1209247" y="1263915"/>
                  </a:cubicBezTo>
                  <a:cubicBezTo>
                    <a:pt x="1237294" y="1297350"/>
                    <a:pt x="1235292" y="1347117"/>
                    <a:pt x="1204039" y="1379294"/>
                  </a:cubicBezTo>
                  <a:cubicBezTo>
                    <a:pt x="1172868" y="1411387"/>
                    <a:pt x="1123360" y="1414903"/>
                    <a:pt x="1089145" y="1388041"/>
                  </a:cubicBezTo>
                  <a:cubicBezTo>
                    <a:pt x="1073741" y="1413506"/>
                    <a:pt x="1061947" y="1441265"/>
                    <a:pt x="1054488" y="1470751"/>
                  </a:cubicBezTo>
                  <a:cubicBezTo>
                    <a:pt x="1098228" y="1474930"/>
                    <a:pt x="1131828" y="1512182"/>
                    <a:pt x="1131828" y="1557282"/>
                  </a:cubicBezTo>
                  <a:cubicBezTo>
                    <a:pt x="1131828" y="1602404"/>
                    <a:pt x="1098196" y="1639671"/>
                    <a:pt x="1054428" y="1643826"/>
                  </a:cubicBezTo>
                  <a:cubicBezTo>
                    <a:pt x="1061795" y="1673705"/>
                    <a:pt x="1073514" y="1701872"/>
                    <a:pt x="1088656" y="1727818"/>
                  </a:cubicBezTo>
                  <a:cubicBezTo>
                    <a:pt x="1122879" y="1700241"/>
                    <a:pt x="1172960" y="1703426"/>
                    <a:pt x="1204468" y="1735710"/>
                  </a:cubicBezTo>
                  <a:cubicBezTo>
                    <a:pt x="1235736" y="1767749"/>
                    <a:pt x="1237910" y="1817378"/>
                    <a:pt x="1210094" y="1850868"/>
                  </a:cubicBezTo>
                  <a:cubicBezTo>
                    <a:pt x="1237702" y="1868356"/>
                    <a:pt x="1268368" y="1881183"/>
                    <a:pt x="1300911" y="1889331"/>
                  </a:cubicBezTo>
                  <a:cubicBezTo>
                    <a:pt x="1305378" y="1845947"/>
                    <a:pt x="1342457" y="1812744"/>
                    <a:pt x="1387290" y="1812744"/>
                  </a:cubicBezTo>
                  <a:cubicBezTo>
                    <a:pt x="1432384" y="1812744"/>
                    <a:pt x="1469632" y="1846335"/>
                    <a:pt x="1473817" y="1890065"/>
                  </a:cubicBezTo>
                  <a:cubicBezTo>
                    <a:pt x="1506710" y="1881909"/>
                    <a:pt x="1537507" y="1868473"/>
                    <a:pt x="1565469" y="1850849"/>
                  </a:cubicBezTo>
                  <a:cubicBezTo>
                    <a:pt x="1537277" y="1817400"/>
                    <a:pt x="1539228" y="1767509"/>
                    <a:pt x="1570539" y="1735271"/>
                  </a:cubicBezTo>
                  <a:cubicBezTo>
                    <a:pt x="1601657" y="1703234"/>
                    <a:pt x="1651049" y="1699674"/>
                    <a:pt x="1685249" y="1726404"/>
                  </a:cubicBezTo>
                  <a:cubicBezTo>
                    <a:pt x="1700731" y="1701097"/>
                    <a:pt x="1711956" y="1673150"/>
                    <a:pt x="1719338" y="1643662"/>
                  </a:cubicBezTo>
                  <a:cubicBezTo>
                    <a:pt x="1675955" y="1639194"/>
                    <a:pt x="1642751" y="1602116"/>
                    <a:pt x="1642751" y="1557282"/>
                  </a:cubicBezTo>
                  <a:cubicBezTo>
                    <a:pt x="1642751" y="1512160"/>
                    <a:pt x="1676384" y="1474894"/>
                    <a:pt x="1720152" y="1470739"/>
                  </a:cubicBezTo>
                  <a:cubicBezTo>
                    <a:pt x="1712785" y="1440860"/>
                    <a:pt x="1701065" y="1412693"/>
                    <a:pt x="1685925" y="1386746"/>
                  </a:cubicBezTo>
                  <a:cubicBezTo>
                    <a:pt x="1651702" y="1414324"/>
                    <a:pt x="1601620" y="1411139"/>
                    <a:pt x="1570112" y="1378855"/>
                  </a:cubicBezTo>
                  <a:cubicBezTo>
                    <a:pt x="1538843" y="1346815"/>
                    <a:pt x="1536669" y="1297185"/>
                    <a:pt x="1564487" y="1263696"/>
                  </a:cubicBezTo>
                  <a:cubicBezTo>
                    <a:pt x="1536878" y="1246207"/>
                    <a:pt x="1506212" y="1233380"/>
                    <a:pt x="1473669" y="1225233"/>
                  </a:cubicBezTo>
                  <a:cubicBezTo>
                    <a:pt x="1469201" y="1268617"/>
                    <a:pt x="1432124" y="1301821"/>
                    <a:pt x="1387290" y="1301821"/>
                  </a:cubicBezTo>
                  <a:cubicBezTo>
                    <a:pt x="1342203" y="1301821"/>
                    <a:pt x="1304960" y="1268242"/>
                    <a:pt x="1300767" y="1224522"/>
                  </a:cubicBezTo>
                  <a:close/>
                  <a:moveTo>
                    <a:pt x="2821343" y="1181251"/>
                  </a:moveTo>
                  <a:cubicBezTo>
                    <a:pt x="2818751" y="1208264"/>
                    <a:pt x="2795741" y="1229010"/>
                    <a:pt x="2767883" y="1229010"/>
                  </a:cubicBezTo>
                  <a:cubicBezTo>
                    <a:pt x="2740182" y="1229010"/>
                    <a:pt x="2717274" y="1208495"/>
                    <a:pt x="2714514" y="1181690"/>
                  </a:cubicBezTo>
                  <a:cubicBezTo>
                    <a:pt x="2694407" y="1186724"/>
                    <a:pt x="2675460" y="1194649"/>
                    <a:pt x="2658401" y="1205455"/>
                  </a:cubicBezTo>
                  <a:cubicBezTo>
                    <a:pt x="2675588" y="1226146"/>
                    <a:pt x="2674245" y="1256810"/>
                    <a:pt x="2654926" y="1276606"/>
                  </a:cubicBezTo>
                  <a:cubicBezTo>
                    <a:pt x="2635458" y="1296553"/>
                    <a:pt x="2604515" y="1298521"/>
                    <a:pt x="2583370" y="1281482"/>
                  </a:cubicBezTo>
                  <a:cubicBezTo>
                    <a:pt x="2574015" y="1297514"/>
                    <a:pt x="2566775" y="1314917"/>
                    <a:pt x="2562223" y="1333377"/>
                  </a:cubicBezTo>
                  <a:cubicBezTo>
                    <a:pt x="2589265" y="1335945"/>
                    <a:pt x="2610045" y="1358969"/>
                    <a:pt x="2610045" y="1386848"/>
                  </a:cubicBezTo>
                  <a:cubicBezTo>
                    <a:pt x="2610045" y="1414549"/>
                    <a:pt x="2589530" y="1437458"/>
                    <a:pt x="2562725" y="1440219"/>
                  </a:cubicBezTo>
                  <a:cubicBezTo>
                    <a:pt x="2567287" y="1458438"/>
                    <a:pt x="2574222" y="1475705"/>
                    <a:pt x="2583788" y="1491342"/>
                  </a:cubicBezTo>
                  <a:cubicBezTo>
                    <a:pt x="2604918" y="1474826"/>
                    <a:pt x="2635435" y="1477025"/>
                    <a:pt x="2654662" y="1496820"/>
                  </a:cubicBezTo>
                  <a:cubicBezTo>
                    <a:pt x="2674008" y="1516738"/>
                    <a:pt x="2675213" y="1547564"/>
                    <a:pt x="2657794" y="1568230"/>
                  </a:cubicBezTo>
                  <a:cubicBezTo>
                    <a:pt x="2675071" y="1579119"/>
                    <a:pt x="2694099" y="1587421"/>
                    <a:pt x="2714422" y="1592460"/>
                  </a:cubicBezTo>
                  <a:cubicBezTo>
                    <a:pt x="2717008" y="1565441"/>
                    <a:pt x="2740022" y="1544687"/>
                    <a:pt x="2767883" y="1544687"/>
                  </a:cubicBezTo>
                  <a:cubicBezTo>
                    <a:pt x="2795584" y="1544687"/>
                    <a:pt x="2818493" y="1565202"/>
                    <a:pt x="2821253" y="1592006"/>
                  </a:cubicBezTo>
                  <a:cubicBezTo>
                    <a:pt x="2841360" y="1586972"/>
                    <a:pt x="2860307" y="1579047"/>
                    <a:pt x="2877365" y="1568242"/>
                  </a:cubicBezTo>
                  <a:cubicBezTo>
                    <a:pt x="2860179" y="1547550"/>
                    <a:pt x="2861522" y="1516887"/>
                    <a:pt x="2880841" y="1497091"/>
                  </a:cubicBezTo>
                  <a:cubicBezTo>
                    <a:pt x="2900309" y="1477144"/>
                    <a:pt x="2931252" y="1475176"/>
                    <a:pt x="2952396" y="1492215"/>
                  </a:cubicBezTo>
                  <a:cubicBezTo>
                    <a:pt x="2961751" y="1476184"/>
                    <a:pt x="2968992" y="1458781"/>
                    <a:pt x="2973544" y="1440320"/>
                  </a:cubicBezTo>
                  <a:cubicBezTo>
                    <a:pt x="2946502" y="1437753"/>
                    <a:pt x="2925722" y="1414727"/>
                    <a:pt x="2925722" y="1386848"/>
                  </a:cubicBezTo>
                  <a:cubicBezTo>
                    <a:pt x="2925722" y="1358983"/>
                    <a:pt x="2946482" y="1335967"/>
                    <a:pt x="2973507" y="1333385"/>
                  </a:cubicBezTo>
                  <a:cubicBezTo>
                    <a:pt x="2968899" y="1315167"/>
                    <a:pt x="2961612" y="1298016"/>
                    <a:pt x="2952094" y="1282282"/>
                  </a:cubicBezTo>
                  <a:cubicBezTo>
                    <a:pt x="2930954" y="1298879"/>
                    <a:pt x="2900365" y="1296706"/>
                    <a:pt x="2881106" y="1276878"/>
                  </a:cubicBezTo>
                  <a:cubicBezTo>
                    <a:pt x="2861796" y="1256997"/>
                    <a:pt x="2860559" y="1226248"/>
                    <a:pt x="2877889" y="1205590"/>
                  </a:cubicBezTo>
                  <a:cubicBezTo>
                    <a:pt x="2860647" y="1194633"/>
                    <a:pt x="2841645" y="1186303"/>
                    <a:pt x="2821343" y="1181251"/>
                  </a:cubicBezTo>
                  <a:close/>
                  <a:moveTo>
                    <a:pt x="2032094" y="1164157"/>
                  </a:moveTo>
                  <a:cubicBezTo>
                    <a:pt x="2011771" y="1169196"/>
                    <a:pt x="1992743" y="1177498"/>
                    <a:pt x="1975466" y="1188387"/>
                  </a:cubicBezTo>
                  <a:cubicBezTo>
                    <a:pt x="1992885" y="1209053"/>
                    <a:pt x="1991680" y="1239879"/>
                    <a:pt x="1972334" y="1259797"/>
                  </a:cubicBezTo>
                  <a:cubicBezTo>
                    <a:pt x="1953107" y="1279592"/>
                    <a:pt x="1922590" y="1281791"/>
                    <a:pt x="1901460" y="1265275"/>
                  </a:cubicBezTo>
                  <a:cubicBezTo>
                    <a:pt x="1891894" y="1280912"/>
                    <a:pt x="1884959" y="1298179"/>
                    <a:pt x="1880397" y="1316398"/>
                  </a:cubicBezTo>
                  <a:cubicBezTo>
                    <a:pt x="1907202" y="1319159"/>
                    <a:pt x="1927717" y="1342068"/>
                    <a:pt x="1927717" y="1369768"/>
                  </a:cubicBezTo>
                  <a:cubicBezTo>
                    <a:pt x="1927717" y="1397647"/>
                    <a:pt x="1906937" y="1420672"/>
                    <a:pt x="1879895" y="1423240"/>
                  </a:cubicBezTo>
                  <a:cubicBezTo>
                    <a:pt x="1884447" y="1441700"/>
                    <a:pt x="1891687" y="1459103"/>
                    <a:pt x="1901042" y="1475135"/>
                  </a:cubicBezTo>
                  <a:cubicBezTo>
                    <a:pt x="1922187" y="1458096"/>
                    <a:pt x="1953130" y="1460064"/>
                    <a:pt x="1972598" y="1480011"/>
                  </a:cubicBezTo>
                  <a:cubicBezTo>
                    <a:pt x="1991917" y="1499807"/>
                    <a:pt x="1993260" y="1530471"/>
                    <a:pt x="1976073" y="1551162"/>
                  </a:cubicBezTo>
                  <a:cubicBezTo>
                    <a:pt x="1993132" y="1561968"/>
                    <a:pt x="2012079" y="1569893"/>
                    <a:pt x="2032186" y="1574927"/>
                  </a:cubicBezTo>
                  <a:cubicBezTo>
                    <a:pt x="2034946" y="1548122"/>
                    <a:pt x="2057854" y="1527607"/>
                    <a:pt x="2085555" y="1527607"/>
                  </a:cubicBezTo>
                  <a:cubicBezTo>
                    <a:pt x="2113412" y="1527607"/>
                    <a:pt x="2136423" y="1548353"/>
                    <a:pt x="2139014" y="1575366"/>
                  </a:cubicBezTo>
                  <a:cubicBezTo>
                    <a:pt x="2159316" y="1570314"/>
                    <a:pt x="2178319" y="1561984"/>
                    <a:pt x="2195560" y="1551027"/>
                  </a:cubicBezTo>
                  <a:cubicBezTo>
                    <a:pt x="2178231" y="1530369"/>
                    <a:pt x="2179468" y="1499620"/>
                    <a:pt x="2198777" y="1479739"/>
                  </a:cubicBezTo>
                  <a:cubicBezTo>
                    <a:pt x="2218037" y="1459911"/>
                    <a:pt x="2248625" y="1457738"/>
                    <a:pt x="2269765" y="1474335"/>
                  </a:cubicBezTo>
                  <a:cubicBezTo>
                    <a:pt x="2279283" y="1458601"/>
                    <a:pt x="2286570" y="1441450"/>
                    <a:pt x="2291179" y="1423232"/>
                  </a:cubicBezTo>
                  <a:cubicBezTo>
                    <a:pt x="2264154" y="1420650"/>
                    <a:pt x="2243393" y="1397634"/>
                    <a:pt x="2243393" y="1369768"/>
                  </a:cubicBezTo>
                  <a:cubicBezTo>
                    <a:pt x="2243393" y="1341890"/>
                    <a:pt x="2264174" y="1318864"/>
                    <a:pt x="2291216" y="1316297"/>
                  </a:cubicBezTo>
                  <a:cubicBezTo>
                    <a:pt x="2286664" y="1297836"/>
                    <a:pt x="2279423" y="1280433"/>
                    <a:pt x="2270068" y="1264402"/>
                  </a:cubicBezTo>
                  <a:cubicBezTo>
                    <a:pt x="2248923" y="1281441"/>
                    <a:pt x="2217980" y="1279473"/>
                    <a:pt x="2198513" y="1259526"/>
                  </a:cubicBezTo>
                  <a:cubicBezTo>
                    <a:pt x="2179194" y="1239730"/>
                    <a:pt x="2177850" y="1209067"/>
                    <a:pt x="2195037" y="1188375"/>
                  </a:cubicBezTo>
                  <a:cubicBezTo>
                    <a:pt x="2177979" y="1177570"/>
                    <a:pt x="2159032" y="1169645"/>
                    <a:pt x="2138925" y="1164611"/>
                  </a:cubicBezTo>
                  <a:cubicBezTo>
                    <a:pt x="2136165" y="1191415"/>
                    <a:pt x="2113256" y="1211930"/>
                    <a:pt x="2085555" y="1211930"/>
                  </a:cubicBezTo>
                  <a:cubicBezTo>
                    <a:pt x="2057694" y="1211930"/>
                    <a:pt x="2034680" y="1191176"/>
                    <a:pt x="2032094" y="1164157"/>
                  </a:cubicBezTo>
                  <a:close/>
                  <a:moveTo>
                    <a:pt x="1732866" y="1077004"/>
                  </a:moveTo>
                  <a:cubicBezTo>
                    <a:pt x="1762832" y="1077004"/>
                    <a:pt x="1787124" y="1101296"/>
                    <a:pt x="1787124" y="1131261"/>
                  </a:cubicBezTo>
                  <a:cubicBezTo>
                    <a:pt x="1787124" y="1161227"/>
                    <a:pt x="1762832" y="1185518"/>
                    <a:pt x="1732866" y="1185518"/>
                  </a:cubicBezTo>
                  <a:cubicBezTo>
                    <a:pt x="1702901" y="1185518"/>
                    <a:pt x="1678609" y="1161227"/>
                    <a:pt x="1678609" y="1131261"/>
                  </a:cubicBezTo>
                  <a:cubicBezTo>
                    <a:pt x="1678609" y="1101296"/>
                    <a:pt x="1702901" y="1077004"/>
                    <a:pt x="1732866" y="1077004"/>
                  </a:cubicBezTo>
                  <a:close/>
                  <a:moveTo>
                    <a:pt x="1732866" y="1044563"/>
                  </a:moveTo>
                  <a:cubicBezTo>
                    <a:pt x="1684984" y="1044563"/>
                    <a:pt x="1646168" y="1083379"/>
                    <a:pt x="1646168" y="1131261"/>
                  </a:cubicBezTo>
                  <a:cubicBezTo>
                    <a:pt x="1646168" y="1179144"/>
                    <a:pt x="1684984" y="1217960"/>
                    <a:pt x="1732866" y="1217960"/>
                  </a:cubicBezTo>
                  <a:cubicBezTo>
                    <a:pt x="1780749" y="1217960"/>
                    <a:pt x="1819565" y="1179144"/>
                    <a:pt x="1819565" y="1131261"/>
                  </a:cubicBezTo>
                  <a:cubicBezTo>
                    <a:pt x="1819565" y="1083379"/>
                    <a:pt x="1780749" y="1044563"/>
                    <a:pt x="1732866" y="1044563"/>
                  </a:cubicBezTo>
                  <a:close/>
                  <a:moveTo>
                    <a:pt x="1732866" y="1011472"/>
                  </a:moveTo>
                  <a:cubicBezTo>
                    <a:pt x="1799024" y="1011472"/>
                    <a:pt x="1852655" y="1065104"/>
                    <a:pt x="1852655" y="1131261"/>
                  </a:cubicBezTo>
                  <a:cubicBezTo>
                    <a:pt x="1852655" y="1197419"/>
                    <a:pt x="1799024" y="1251050"/>
                    <a:pt x="1732866" y="1251050"/>
                  </a:cubicBezTo>
                  <a:cubicBezTo>
                    <a:pt x="1666709" y="1251050"/>
                    <a:pt x="1613077" y="1197419"/>
                    <a:pt x="1613077" y="1131261"/>
                  </a:cubicBezTo>
                  <a:cubicBezTo>
                    <a:pt x="1613077" y="1065104"/>
                    <a:pt x="1666709" y="1011472"/>
                    <a:pt x="1732866" y="1011472"/>
                  </a:cubicBezTo>
                  <a:close/>
                  <a:moveTo>
                    <a:pt x="1679407" y="925657"/>
                  </a:moveTo>
                  <a:cubicBezTo>
                    <a:pt x="1659105" y="930709"/>
                    <a:pt x="1640103" y="939039"/>
                    <a:pt x="1622861" y="949996"/>
                  </a:cubicBezTo>
                  <a:cubicBezTo>
                    <a:pt x="1640191" y="970654"/>
                    <a:pt x="1638954" y="1001403"/>
                    <a:pt x="1619644" y="1021284"/>
                  </a:cubicBezTo>
                  <a:cubicBezTo>
                    <a:pt x="1600385" y="1041112"/>
                    <a:pt x="1569796" y="1043285"/>
                    <a:pt x="1548656" y="1026688"/>
                  </a:cubicBezTo>
                  <a:cubicBezTo>
                    <a:pt x="1539138" y="1042422"/>
                    <a:pt x="1531851" y="1059573"/>
                    <a:pt x="1527243" y="1077791"/>
                  </a:cubicBezTo>
                  <a:cubicBezTo>
                    <a:pt x="1554268" y="1080373"/>
                    <a:pt x="1575028" y="1103389"/>
                    <a:pt x="1575028" y="1131254"/>
                  </a:cubicBezTo>
                  <a:cubicBezTo>
                    <a:pt x="1575028" y="1159133"/>
                    <a:pt x="1554248" y="1182159"/>
                    <a:pt x="1527206" y="1184726"/>
                  </a:cubicBezTo>
                  <a:cubicBezTo>
                    <a:pt x="1531758" y="1203187"/>
                    <a:pt x="1538999" y="1220590"/>
                    <a:pt x="1548354" y="1236621"/>
                  </a:cubicBezTo>
                  <a:cubicBezTo>
                    <a:pt x="1569498" y="1219582"/>
                    <a:pt x="1600441" y="1221550"/>
                    <a:pt x="1619909" y="1241497"/>
                  </a:cubicBezTo>
                  <a:cubicBezTo>
                    <a:pt x="1639228" y="1261293"/>
                    <a:pt x="1640571" y="1291956"/>
                    <a:pt x="1623385" y="1312647"/>
                  </a:cubicBezTo>
                  <a:cubicBezTo>
                    <a:pt x="1640443" y="1323453"/>
                    <a:pt x="1659390" y="1331378"/>
                    <a:pt x="1679497" y="1336412"/>
                  </a:cubicBezTo>
                  <a:cubicBezTo>
                    <a:pt x="1682257" y="1309607"/>
                    <a:pt x="1705166" y="1289092"/>
                    <a:pt x="1732866" y="1289092"/>
                  </a:cubicBezTo>
                  <a:cubicBezTo>
                    <a:pt x="1760728" y="1289092"/>
                    <a:pt x="1783742" y="1309847"/>
                    <a:pt x="1786328" y="1336866"/>
                  </a:cubicBezTo>
                  <a:cubicBezTo>
                    <a:pt x="1806651" y="1331827"/>
                    <a:pt x="1825679" y="1323525"/>
                    <a:pt x="1842955" y="1312636"/>
                  </a:cubicBezTo>
                  <a:cubicBezTo>
                    <a:pt x="1825537" y="1291970"/>
                    <a:pt x="1826742" y="1261144"/>
                    <a:pt x="1846088" y="1241226"/>
                  </a:cubicBezTo>
                  <a:cubicBezTo>
                    <a:pt x="1865314" y="1221431"/>
                    <a:pt x="1895831" y="1219232"/>
                    <a:pt x="1916962" y="1235747"/>
                  </a:cubicBezTo>
                  <a:cubicBezTo>
                    <a:pt x="1926528" y="1220111"/>
                    <a:pt x="1933463" y="1202844"/>
                    <a:pt x="1938024" y="1184625"/>
                  </a:cubicBezTo>
                  <a:cubicBezTo>
                    <a:pt x="1911219" y="1181864"/>
                    <a:pt x="1890704" y="1158955"/>
                    <a:pt x="1890704" y="1131254"/>
                  </a:cubicBezTo>
                  <a:cubicBezTo>
                    <a:pt x="1890704" y="1103375"/>
                    <a:pt x="1911485" y="1080351"/>
                    <a:pt x="1938527" y="1077783"/>
                  </a:cubicBezTo>
                  <a:cubicBezTo>
                    <a:pt x="1933975" y="1059323"/>
                    <a:pt x="1926734" y="1041920"/>
                    <a:pt x="1917379" y="1025888"/>
                  </a:cubicBezTo>
                  <a:cubicBezTo>
                    <a:pt x="1896235" y="1042927"/>
                    <a:pt x="1865291" y="1040959"/>
                    <a:pt x="1845824" y="1021012"/>
                  </a:cubicBezTo>
                  <a:cubicBezTo>
                    <a:pt x="1826504" y="1001216"/>
                    <a:pt x="1825161" y="970552"/>
                    <a:pt x="1842348" y="949861"/>
                  </a:cubicBezTo>
                  <a:cubicBezTo>
                    <a:pt x="1825290" y="939055"/>
                    <a:pt x="1806343" y="931130"/>
                    <a:pt x="1786236" y="926096"/>
                  </a:cubicBezTo>
                  <a:cubicBezTo>
                    <a:pt x="1783476" y="952901"/>
                    <a:pt x="1760567" y="973416"/>
                    <a:pt x="1732866" y="973416"/>
                  </a:cubicBezTo>
                  <a:cubicBezTo>
                    <a:pt x="1705009" y="973416"/>
                    <a:pt x="1681999" y="952670"/>
                    <a:pt x="1679407" y="925657"/>
                  </a:cubicBezTo>
                  <a:close/>
                  <a:moveTo>
                    <a:pt x="3142735" y="899575"/>
                  </a:moveTo>
                  <a:cubicBezTo>
                    <a:pt x="3191234" y="899575"/>
                    <a:pt x="3230551" y="938891"/>
                    <a:pt x="3230551" y="987390"/>
                  </a:cubicBezTo>
                  <a:cubicBezTo>
                    <a:pt x="3230551" y="1035889"/>
                    <a:pt x="3191234" y="1075206"/>
                    <a:pt x="3142735" y="1075206"/>
                  </a:cubicBezTo>
                  <a:cubicBezTo>
                    <a:pt x="3094236" y="1075206"/>
                    <a:pt x="3054920" y="1035889"/>
                    <a:pt x="3054920" y="987390"/>
                  </a:cubicBezTo>
                  <a:cubicBezTo>
                    <a:pt x="3054920" y="938891"/>
                    <a:pt x="3094236" y="899575"/>
                    <a:pt x="3142735" y="899575"/>
                  </a:cubicBezTo>
                  <a:close/>
                  <a:moveTo>
                    <a:pt x="2431132" y="855914"/>
                  </a:moveTo>
                  <a:cubicBezTo>
                    <a:pt x="2479631" y="855914"/>
                    <a:pt x="2518947" y="895231"/>
                    <a:pt x="2518947" y="943730"/>
                  </a:cubicBezTo>
                  <a:cubicBezTo>
                    <a:pt x="2518947" y="992229"/>
                    <a:pt x="2479631" y="1031545"/>
                    <a:pt x="2431132" y="1031545"/>
                  </a:cubicBezTo>
                  <a:cubicBezTo>
                    <a:pt x="2382633" y="1031545"/>
                    <a:pt x="2343316" y="992229"/>
                    <a:pt x="2343316" y="943730"/>
                  </a:cubicBezTo>
                  <a:cubicBezTo>
                    <a:pt x="2343316" y="895231"/>
                    <a:pt x="2382633" y="855914"/>
                    <a:pt x="2431132" y="855914"/>
                  </a:cubicBezTo>
                  <a:close/>
                  <a:moveTo>
                    <a:pt x="3142735" y="847068"/>
                  </a:moveTo>
                  <a:cubicBezTo>
                    <a:pt x="3065237" y="847068"/>
                    <a:pt x="3002413" y="909892"/>
                    <a:pt x="3002413" y="987390"/>
                  </a:cubicBezTo>
                  <a:cubicBezTo>
                    <a:pt x="3002413" y="1064888"/>
                    <a:pt x="3065237" y="1127712"/>
                    <a:pt x="3142735" y="1127712"/>
                  </a:cubicBezTo>
                  <a:cubicBezTo>
                    <a:pt x="3220233" y="1127712"/>
                    <a:pt x="3283057" y="1064888"/>
                    <a:pt x="3283057" y="987390"/>
                  </a:cubicBezTo>
                  <a:cubicBezTo>
                    <a:pt x="3283057" y="909892"/>
                    <a:pt x="3220233" y="847068"/>
                    <a:pt x="3142735" y="847068"/>
                  </a:cubicBezTo>
                  <a:close/>
                  <a:moveTo>
                    <a:pt x="2431132" y="803408"/>
                  </a:moveTo>
                  <a:cubicBezTo>
                    <a:pt x="2353634" y="803408"/>
                    <a:pt x="2290810" y="866232"/>
                    <a:pt x="2290810" y="943730"/>
                  </a:cubicBezTo>
                  <a:cubicBezTo>
                    <a:pt x="2290810" y="1021228"/>
                    <a:pt x="2353634" y="1084052"/>
                    <a:pt x="2431132" y="1084052"/>
                  </a:cubicBezTo>
                  <a:cubicBezTo>
                    <a:pt x="2508630" y="1084052"/>
                    <a:pt x="2571454" y="1021228"/>
                    <a:pt x="2571454" y="943730"/>
                  </a:cubicBezTo>
                  <a:cubicBezTo>
                    <a:pt x="2571454" y="866232"/>
                    <a:pt x="2508630" y="803408"/>
                    <a:pt x="2431132" y="803408"/>
                  </a:cubicBezTo>
                  <a:close/>
                  <a:moveTo>
                    <a:pt x="3142735" y="793511"/>
                  </a:moveTo>
                  <a:cubicBezTo>
                    <a:pt x="3249811" y="793511"/>
                    <a:pt x="3336614" y="880314"/>
                    <a:pt x="3336614" y="987390"/>
                  </a:cubicBezTo>
                  <a:cubicBezTo>
                    <a:pt x="3336614" y="1094466"/>
                    <a:pt x="3249811" y="1181269"/>
                    <a:pt x="3142735" y="1181269"/>
                  </a:cubicBezTo>
                  <a:cubicBezTo>
                    <a:pt x="3035659" y="1181269"/>
                    <a:pt x="2948856" y="1094466"/>
                    <a:pt x="2948856" y="987390"/>
                  </a:cubicBezTo>
                  <a:cubicBezTo>
                    <a:pt x="2948856" y="880314"/>
                    <a:pt x="3035659" y="793511"/>
                    <a:pt x="3142735" y="793511"/>
                  </a:cubicBezTo>
                  <a:close/>
                  <a:moveTo>
                    <a:pt x="2431132" y="749851"/>
                  </a:moveTo>
                  <a:cubicBezTo>
                    <a:pt x="2538208" y="749851"/>
                    <a:pt x="2625011" y="836654"/>
                    <a:pt x="2625011" y="943730"/>
                  </a:cubicBezTo>
                  <a:cubicBezTo>
                    <a:pt x="2625011" y="1050806"/>
                    <a:pt x="2538208" y="1137609"/>
                    <a:pt x="2431132" y="1137609"/>
                  </a:cubicBezTo>
                  <a:cubicBezTo>
                    <a:pt x="2324056" y="1137609"/>
                    <a:pt x="2237253" y="1050806"/>
                    <a:pt x="2237253" y="943730"/>
                  </a:cubicBezTo>
                  <a:cubicBezTo>
                    <a:pt x="2237253" y="836654"/>
                    <a:pt x="2324056" y="749851"/>
                    <a:pt x="2431132" y="749851"/>
                  </a:cubicBezTo>
                  <a:close/>
                  <a:moveTo>
                    <a:pt x="3229258" y="654619"/>
                  </a:moveTo>
                  <a:cubicBezTo>
                    <a:pt x="3225065" y="698339"/>
                    <a:pt x="3187822" y="731918"/>
                    <a:pt x="3142735" y="731918"/>
                  </a:cubicBezTo>
                  <a:cubicBezTo>
                    <a:pt x="3097901" y="731918"/>
                    <a:pt x="3060824" y="698714"/>
                    <a:pt x="3056356" y="655330"/>
                  </a:cubicBezTo>
                  <a:cubicBezTo>
                    <a:pt x="3023813" y="663477"/>
                    <a:pt x="2993147" y="676304"/>
                    <a:pt x="2965538" y="693793"/>
                  </a:cubicBezTo>
                  <a:cubicBezTo>
                    <a:pt x="2993356" y="727282"/>
                    <a:pt x="2991182" y="776912"/>
                    <a:pt x="2959913" y="808952"/>
                  </a:cubicBezTo>
                  <a:cubicBezTo>
                    <a:pt x="2928405" y="841236"/>
                    <a:pt x="2878323" y="844421"/>
                    <a:pt x="2844100" y="816843"/>
                  </a:cubicBezTo>
                  <a:cubicBezTo>
                    <a:pt x="2828960" y="842791"/>
                    <a:pt x="2817240" y="870957"/>
                    <a:pt x="2809873" y="900836"/>
                  </a:cubicBezTo>
                  <a:cubicBezTo>
                    <a:pt x="2853641" y="904991"/>
                    <a:pt x="2887274" y="942257"/>
                    <a:pt x="2887274" y="987379"/>
                  </a:cubicBezTo>
                  <a:cubicBezTo>
                    <a:pt x="2887274" y="1032213"/>
                    <a:pt x="2854070" y="1069290"/>
                    <a:pt x="2810687" y="1073759"/>
                  </a:cubicBezTo>
                  <a:cubicBezTo>
                    <a:pt x="2818069" y="1103247"/>
                    <a:pt x="2829294" y="1131194"/>
                    <a:pt x="2844776" y="1156501"/>
                  </a:cubicBezTo>
                  <a:cubicBezTo>
                    <a:pt x="2878976" y="1129771"/>
                    <a:pt x="2928368" y="1133331"/>
                    <a:pt x="2959486" y="1165368"/>
                  </a:cubicBezTo>
                  <a:cubicBezTo>
                    <a:pt x="2990797" y="1197605"/>
                    <a:pt x="2992748" y="1247497"/>
                    <a:pt x="2964556" y="1280946"/>
                  </a:cubicBezTo>
                  <a:cubicBezTo>
                    <a:pt x="2992518" y="1298569"/>
                    <a:pt x="3023315" y="1312006"/>
                    <a:pt x="3056208" y="1320162"/>
                  </a:cubicBezTo>
                  <a:cubicBezTo>
                    <a:pt x="3060393" y="1276432"/>
                    <a:pt x="3097641" y="1242840"/>
                    <a:pt x="3142735" y="1242840"/>
                  </a:cubicBezTo>
                  <a:cubicBezTo>
                    <a:pt x="3187568" y="1242840"/>
                    <a:pt x="3224647" y="1276044"/>
                    <a:pt x="3229114" y="1319428"/>
                  </a:cubicBezTo>
                  <a:cubicBezTo>
                    <a:pt x="3261657" y="1311280"/>
                    <a:pt x="3292323" y="1298453"/>
                    <a:pt x="3319931" y="1280964"/>
                  </a:cubicBezTo>
                  <a:cubicBezTo>
                    <a:pt x="3292115" y="1247475"/>
                    <a:pt x="3294289" y="1197846"/>
                    <a:pt x="3325557" y="1165807"/>
                  </a:cubicBezTo>
                  <a:cubicBezTo>
                    <a:pt x="3357065" y="1133523"/>
                    <a:pt x="3407146" y="1130338"/>
                    <a:pt x="3441369" y="1157915"/>
                  </a:cubicBezTo>
                  <a:cubicBezTo>
                    <a:pt x="3456511" y="1131969"/>
                    <a:pt x="3468230" y="1103802"/>
                    <a:pt x="3475597" y="1073923"/>
                  </a:cubicBezTo>
                  <a:cubicBezTo>
                    <a:pt x="3431829" y="1069768"/>
                    <a:pt x="3398197" y="1032501"/>
                    <a:pt x="3398197" y="987379"/>
                  </a:cubicBezTo>
                  <a:cubicBezTo>
                    <a:pt x="3398197" y="942279"/>
                    <a:pt x="3431797" y="905027"/>
                    <a:pt x="3475537" y="900848"/>
                  </a:cubicBezTo>
                  <a:cubicBezTo>
                    <a:pt x="3468078" y="871362"/>
                    <a:pt x="3456284" y="843603"/>
                    <a:pt x="3440880" y="818138"/>
                  </a:cubicBezTo>
                  <a:cubicBezTo>
                    <a:pt x="3406665" y="845000"/>
                    <a:pt x="3357157" y="841484"/>
                    <a:pt x="3325986" y="809391"/>
                  </a:cubicBezTo>
                  <a:cubicBezTo>
                    <a:pt x="3294733" y="777214"/>
                    <a:pt x="3292731" y="727448"/>
                    <a:pt x="3320778" y="694012"/>
                  </a:cubicBezTo>
                  <a:cubicBezTo>
                    <a:pt x="3292874" y="676278"/>
                    <a:pt x="3262118" y="662795"/>
                    <a:pt x="3229258" y="654619"/>
                  </a:cubicBezTo>
                  <a:close/>
                  <a:moveTo>
                    <a:pt x="2344604" y="610958"/>
                  </a:moveTo>
                  <a:cubicBezTo>
                    <a:pt x="2311711" y="619114"/>
                    <a:pt x="2280915" y="632551"/>
                    <a:pt x="2252952" y="650174"/>
                  </a:cubicBezTo>
                  <a:cubicBezTo>
                    <a:pt x="2281144" y="683623"/>
                    <a:pt x="2279194" y="733515"/>
                    <a:pt x="2247882" y="765752"/>
                  </a:cubicBezTo>
                  <a:cubicBezTo>
                    <a:pt x="2216764" y="797789"/>
                    <a:pt x="2167373" y="801349"/>
                    <a:pt x="2133173" y="774619"/>
                  </a:cubicBezTo>
                  <a:cubicBezTo>
                    <a:pt x="2117690" y="799926"/>
                    <a:pt x="2106465" y="827873"/>
                    <a:pt x="2099083" y="857361"/>
                  </a:cubicBezTo>
                  <a:cubicBezTo>
                    <a:pt x="2142467" y="861830"/>
                    <a:pt x="2175670" y="898907"/>
                    <a:pt x="2175670" y="943741"/>
                  </a:cubicBezTo>
                  <a:cubicBezTo>
                    <a:pt x="2175670" y="988863"/>
                    <a:pt x="2142038" y="1026129"/>
                    <a:pt x="2098270" y="1030284"/>
                  </a:cubicBezTo>
                  <a:cubicBezTo>
                    <a:pt x="2105637" y="1060163"/>
                    <a:pt x="2117356" y="1088329"/>
                    <a:pt x="2132497" y="1114277"/>
                  </a:cubicBezTo>
                  <a:cubicBezTo>
                    <a:pt x="2166720" y="1086699"/>
                    <a:pt x="2216802" y="1089884"/>
                    <a:pt x="2248310" y="1122168"/>
                  </a:cubicBezTo>
                  <a:cubicBezTo>
                    <a:pt x="2279579" y="1154208"/>
                    <a:pt x="2281752" y="1203838"/>
                    <a:pt x="2253935" y="1237327"/>
                  </a:cubicBezTo>
                  <a:cubicBezTo>
                    <a:pt x="2281544" y="1254816"/>
                    <a:pt x="2312210" y="1267643"/>
                    <a:pt x="2344753" y="1275790"/>
                  </a:cubicBezTo>
                  <a:cubicBezTo>
                    <a:pt x="2349220" y="1232406"/>
                    <a:pt x="2386298" y="1199202"/>
                    <a:pt x="2431132" y="1199202"/>
                  </a:cubicBezTo>
                  <a:cubicBezTo>
                    <a:pt x="2476218" y="1199202"/>
                    <a:pt x="2513461" y="1232781"/>
                    <a:pt x="2517655" y="1276501"/>
                  </a:cubicBezTo>
                  <a:cubicBezTo>
                    <a:pt x="2550514" y="1268325"/>
                    <a:pt x="2581270" y="1254842"/>
                    <a:pt x="2609175" y="1237108"/>
                  </a:cubicBezTo>
                  <a:cubicBezTo>
                    <a:pt x="2581128" y="1203672"/>
                    <a:pt x="2583129" y="1153906"/>
                    <a:pt x="2614382" y="1121729"/>
                  </a:cubicBezTo>
                  <a:cubicBezTo>
                    <a:pt x="2645554" y="1089636"/>
                    <a:pt x="2695061" y="1086120"/>
                    <a:pt x="2729276" y="1112982"/>
                  </a:cubicBezTo>
                  <a:cubicBezTo>
                    <a:pt x="2744681" y="1087517"/>
                    <a:pt x="2756475" y="1059758"/>
                    <a:pt x="2763934" y="1030272"/>
                  </a:cubicBezTo>
                  <a:cubicBezTo>
                    <a:pt x="2720194" y="1026093"/>
                    <a:pt x="2686593" y="988841"/>
                    <a:pt x="2686593" y="943741"/>
                  </a:cubicBezTo>
                  <a:cubicBezTo>
                    <a:pt x="2686593" y="898619"/>
                    <a:pt x="2720226" y="861352"/>
                    <a:pt x="2763994" y="857197"/>
                  </a:cubicBezTo>
                  <a:cubicBezTo>
                    <a:pt x="2756627" y="827318"/>
                    <a:pt x="2744907" y="799151"/>
                    <a:pt x="2729766" y="773205"/>
                  </a:cubicBezTo>
                  <a:cubicBezTo>
                    <a:pt x="2695543" y="800782"/>
                    <a:pt x="2645462" y="797597"/>
                    <a:pt x="2613954" y="765313"/>
                  </a:cubicBezTo>
                  <a:cubicBezTo>
                    <a:pt x="2582686" y="733274"/>
                    <a:pt x="2580511" y="683645"/>
                    <a:pt x="2608328" y="650156"/>
                  </a:cubicBezTo>
                  <a:cubicBezTo>
                    <a:pt x="2580720" y="632667"/>
                    <a:pt x="2550054" y="619840"/>
                    <a:pt x="2517511" y="611692"/>
                  </a:cubicBezTo>
                  <a:cubicBezTo>
                    <a:pt x="2513043" y="655076"/>
                    <a:pt x="2475965" y="688280"/>
                    <a:pt x="2431132" y="688280"/>
                  </a:cubicBezTo>
                  <a:cubicBezTo>
                    <a:pt x="2386038" y="688280"/>
                    <a:pt x="2348790" y="654688"/>
                    <a:pt x="2344604" y="610958"/>
                  </a:cubicBezTo>
                  <a:close/>
                  <a:moveTo>
                    <a:pt x="2311656" y="131"/>
                  </a:moveTo>
                  <a:cubicBezTo>
                    <a:pt x="3194306" y="-12569"/>
                    <a:pt x="4231473" y="906064"/>
                    <a:pt x="4102356" y="1968631"/>
                  </a:cubicBezTo>
                  <a:cubicBezTo>
                    <a:pt x="3973239" y="3031198"/>
                    <a:pt x="3448306" y="3547664"/>
                    <a:pt x="3441956" y="4165731"/>
                  </a:cubicBezTo>
                  <a:cubicBezTo>
                    <a:pt x="3435606" y="4783798"/>
                    <a:pt x="3916089" y="5221948"/>
                    <a:pt x="4064256" y="5677031"/>
                  </a:cubicBezTo>
                  <a:cubicBezTo>
                    <a:pt x="3450423" y="5725714"/>
                    <a:pt x="2047073" y="5668564"/>
                    <a:pt x="1321056" y="5677031"/>
                  </a:cubicBezTo>
                  <a:cubicBezTo>
                    <a:pt x="1826939" y="5050498"/>
                    <a:pt x="1687239" y="4673731"/>
                    <a:pt x="1575056" y="4457831"/>
                  </a:cubicBezTo>
                  <a:cubicBezTo>
                    <a:pt x="1462873" y="4241931"/>
                    <a:pt x="1001439" y="4514981"/>
                    <a:pt x="647956" y="4381631"/>
                  </a:cubicBezTo>
                  <a:cubicBezTo>
                    <a:pt x="294473" y="4248281"/>
                    <a:pt x="639489" y="3937131"/>
                    <a:pt x="597156" y="3810131"/>
                  </a:cubicBezTo>
                  <a:cubicBezTo>
                    <a:pt x="554823" y="3683131"/>
                    <a:pt x="421473" y="3661964"/>
                    <a:pt x="393956" y="3619631"/>
                  </a:cubicBezTo>
                  <a:cubicBezTo>
                    <a:pt x="366439" y="3577298"/>
                    <a:pt x="438406" y="3581531"/>
                    <a:pt x="432056" y="3556131"/>
                  </a:cubicBezTo>
                  <a:cubicBezTo>
                    <a:pt x="425706" y="3530731"/>
                    <a:pt x="366439" y="3532848"/>
                    <a:pt x="355856" y="3467231"/>
                  </a:cubicBezTo>
                  <a:cubicBezTo>
                    <a:pt x="345273" y="3401614"/>
                    <a:pt x="427823" y="3247098"/>
                    <a:pt x="368556" y="3162431"/>
                  </a:cubicBezTo>
                  <a:cubicBezTo>
                    <a:pt x="309289" y="3077764"/>
                    <a:pt x="-10327" y="3117981"/>
                    <a:pt x="256" y="2959231"/>
                  </a:cubicBezTo>
                  <a:cubicBezTo>
                    <a:pt x="10839" y="2800481"/>
                    <a:pt x="379139" y="2406781"/>
                    <a:pt x="432056" y="2209931"/>
                  </a:cubicBezTo>
                  <a:cubicBezTo>
                    <a:pt x="484973" y="2013081"/>
                    <a:pt x="288123" y="2051181"/>
                    <a:pt x="317756" y="1778131"/>
                  </a:cubicBezTo>
                  <a:cubicBezTo>
                    <a:pt x="563289" y="1136781"/>
                    <a:pt x="391839" y="1579164"/>
                    <a:pt x="559056" y="1054231"/>
                  </a:cubicBezTo>
                  <a:cubicBezTo>
                    <a:pt x="726273" y="529298"/>
                    <a:pt x="1429006" y="12831"/>
                    <a:pt x="2311656" y="1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solidFill>
                    <a:srgbClr val="505050">
                      <a:alpha val="0"/>
                    </a:srgbClr>
                  </a:solidFill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grpSp>
          <p:nvGrpSpPr>
            <p:cNvPr id="304" name="Group 303"/>
            <p:cNvGrpSpPr/>
            <p:nvPr/>
          </p:nvGrpSpPr>
          <p:grpSpPr>
            <a:xfrm>
              <a:off x="7853560" y="4509578"/>
              <a:ext cx="413128" cy="417594"/>
              <a:chOff x="6286844" y="2329087"/>
              <a:chExt cx="968505" cy="978974"/>
            </a:xfrm>
            <a:solidFill>
              <a:srgbClr val="B4009E"/>
            </a:solidFill>
          </p:grpSpPr>
          <p:sp>
            <p:nvSpPr>
              <p:cNvPr id="490" name="Freeform 489"/>
              <p:cNvSpPr/>
              <p:nvPr/>
            </p:nvSpPr>
            <p:spPr bwMode="auto">
              <a:xfrm rot="1196550">
                <a:off x="6286844" y="2673387"/>
                <a:ext cx="635768" cy="634674"/>
              </a:xfrm>
              <a:custGeom>
                <a:avLst/>
                <a:gdLst>
                  <a:gd name="connsiteX0" fmla="*/ 534897 w 1296109"/>
                  <a:gd name="connsiteY0" fmla="*/ 456519 h 1293879"/>
                  <a:gd name="connsiteX1" fmla="*/ 457634 w 1296109"/>
                  <a:gd name="connsiteY1" fmla="*/ 760098 h 1293879"/>
                  <a:gd name="connsiteX2" fmla="*/ 761213 w 1296109"/>
                  <a:gd name="connsiteY2" fmla="*/ 837361 h 1293879"/>
                  <a:gd name="connsiteX3" fmla="*/ 838476 w 1296109"/>
                  <a:gd name="connsiteY3" fmla="*/ 533782 h 1293879"/>
                  <a:gd name="connsiteX4" fmla="*/ 534897 w 1296109"/>
                  <a:gd name="connsiteY4" fmla="*/ 456519 h 1293879"/>
                  <a:gd name="connsiteX5" fmla="*/ 287047 w 1296109"/>
                  <a:gd name="connsiteY5" fmla="*/ 109549 h 1293879"/>
                  <a:gd name="connsiteX6" fmla="*/ 379506 w 1296109"/>
                  <a:gd name="connsiteY6" fmla="*/ 58788 h 1293879"/>
                  <a:gd name="connsiteX7" fmla="*/ 448512 w 1296109"/>
                  <a:gd name="connsiteY7" fmla="*/ 78879 h 1293879"/>
                  <a:gd name="connsiteX8" fmla="*/ 502583 w 1296109"/>
                  <a:gd name="connsiteY8" fmla="*/ 177363 h 1293879"/>
                  <a:gd name="connsiteX9" fmla="*/ 555952 w 1296109"/>
                  <a:gd name="connsiteY9" fmla="*/ 163545 h 1293879"/>
                  <a:gd name="connsiteX10" fmla="*/ 559855 w 1296109"/>
                  <a:gd name="connsiteY10" fmla="*/ 49089 h 1293879"/>
                  <a:gd name="connsiteX11" fmla="*/ 575956 w 1296109"/>
                  <a:gd name="connsiteY11" fmla="*/ 13682 h 1293879"/>
                  <a:gd name="connsiteX12" fmla="*/ 612379 w 1296109"/>
                  <a:gd name="connsiteY12" fmla="*/ 30 h 1293879"/>
                  <a:gd name="connsiteX13" fmla="*/ 717795 w 1296109"/>
                  <a:gd name="connsiteY13" fmla="*/ 3626 h 1293879"/>
                  <a:gd name="connsiteX14" fmla="*/ 766853 w 1296109"/>
                  <a:gd name="connsiteY14" fmla="*/ 56150 h 1293879"/>
                  <a:gd name="connsiteX15" fmla="*/ 763058 w 1296109"/>
                  <a:gd name="connsiteY15" fmla="*/ 167432 h 1293879"/>
                  <a:gd name="connsiteX16" fmla="*/ 778804 w 1296109"/>
                  <a:gd name="connsiteY16" fmla="*/ 170762 h 1293879"/>
                  <a:gd name="connsiteX17" fmla="*/ 824298 w 1296109"/>
                  <a:gd name="connsiteY17" fmla="*/ 65372 h 1293879"/>
                  <a:gd name="connsiteX18" fmla="*/ 891098 w 1296109"/>
                  <a:gd name="connsiteY18" fmla="*/ 38856 h 1293879"/>
                  <a:gd name="connsiteX19" fmla="*/ 987939 w 1296109"/>
                  <a:gd name="connsiteY19" fmla="*/ 80661 h 1293879"/>
                  <a:gd name="connsiteX20" fmla="*/ 1014455 w 1296109"/>
                  <a:gd name="connsiteY20" fmla="*/ 147460 h 1293879"/>
                  <a:gd name="connsiteX21" fmla="*/ 963838 w 1296109"/>
                  <a:gd name="connsiteY21" fmla="*/ 264716 h 1293879"/>
                  <a:gd name="connsiteX22" fmla="*/ 1004698 w 1296109"/>
                  <a:gd name="connsiteY22" fmla="*/ 303260 h 1293879"/>
                  <a:gd name="connsiteX23" fmla="*/ 1096803 w 1296109"/>
                  <a:gd name="connsiteY23" fmla="*/ 236512 h 1293879"/>
                  <a:gd name="connsiteX24" fmla="*/ 1167775 w 1296109"/>
                  <a:gd name="connsiteY24" fmla="*/ 247842 h 1293879"/>
                  <a:gd name="connsiteX25" fmla="*/ 1229669 w 1296109"/>
                  <a:gd name="connsiteY25" fmla="*/ 333252 h 1293879"/>
                  <a:gd name="connsiteX26" fmla="*/ 1218339 w 1296109"/>
                  <a:gd name="connsiteY26" fmla="*/ 404223 h 1293879"/>
                  <a:gd name="connsiteX27" fmla="*/ 1114924 w 1296109"/>
                  <a:gd name="connsiteY27" fmla="*/ 479166 h 1293879"/>
                  <a:gd name="connsiteX28" fmla="*/ 1118015 w 1296109"/>
                  <a:gd name="connsiteY28" fmla="*/ 489983 h 1293879"/>
                  <a:gd name="connsiteX29" fmla="*/ 1128638 w 1296109"/>
                  <a:gd name="connsiteY29" fmla="*/ 522191 h 1293879"/>
                  <a:gd name="connsiteX30" fmla="*/ 1241513 w 1296109"/>
                  <a:gd name="connsiteY30" fmla="*/ 519465 h 1293879"/>
                  <a:gd name="connsiteX31" fmla="*/ 1293546 w 1296109"/>
                  <a:gd name="connsiteY31" fmla="*/ 569042 h 1293879"/>
                  <a:gd name="connsiteX32" fmla="*/ 1296094 w 1296109"/>
                  <a:gd name="connsiteY32" fmla="*/ 674489 h 1293879"/>
                  <a:gd name="connsiteX33" fmla="*/ 1246516 w 1296109"/>
                  <a:gd name="connsiteY33" fmla="*/ 726522 h 1293879"/>
                  <a:gd name="connsiteX34" fmla="*/ 1138094 w 1296109"/>
                  <a:gd name="connsiteY34" fmla="*/ 729141 h 1293879"/>
                  <a:gd name="connsiteX35" fmla="*/ 1133867 w 1296109"/>
                  <a:gd name="connsiteY35" fmla="*/ 744886 h 1293879"/>
                  <a:gd name="connsiteX36" fmla="*/ 1125064 w 1296109"/>
                  <a:gd name="connsiteY36" fmla="*/ 784697 h 1293879"/>
                  <a:gd name="connsiteX37" fmla="*/ 1223492 w 1296109"/>
                  <a:gd name="connsiteY37" fmla="*/ 840017 h 1293879"/>
                  <a:gd name="connsiteX38" fmla="*/ 1242896 w 1296109"/>
                  <a:gd name="connsiteY38" fmla="*/ 909218 h 1293879"/>
                  <a:gd name="connsiteX39" fmla="*/ 1191218 w 1296109"/>
                  <a:gd name="connsiteY39" fmla="*/ 1001169 h 1293879"/>
                  <a:gd name="connsiteX40" fmla="*/ 1122016 w 1296109"/>
                  <a:gd name="connsiteY40" fmla="*/ 1020573 h 1293879"/>
                  <a:gd name="connsiteX41" fmla="*/ 1027471 w 1296109"/>
                  <a:gd name="connsiteY41" fmla="*/ 967436 h 1293879"/>
                  <a:gd name="connsiteX42" fmla="*/ 987438 w 1296109"/>
                  <a:gd name="connsiteY42" fmla="*/ 1006435 h 1293879"/>
                  <a:gd name="connsiteX43" fmla="*/ 1034590 w 1296109"/>
                  <a:gd name="connsiteY43" fmla="*/ 1119587 h 1293879"/>
                  <a:gd name="connsiteX44" fmla="*/ 1007228 w 1296109"/>
                  <a:gd name="connsiteY44" fmla="*/ 1186045 h 1293879"/>
                  <a:gd name="connsiteX45" fmla="*/ 909865 w 1296109"/>
                  <a:gd name="connsiteY45" fmla="*/ 1226616 h 1293879"/>
                  <a:gd name="connsiteX46" fmla="*/ 843407 w 1296109"/>
                  <a:gd name="connsiteY46" fmla="*/ 1199253 h 1293879"/>
                  <a:gd name="connsiteX47" fmla="*/ 808203 w 1296109"/>
                  <a:gd name="connsiteY47" fmla="*/ 1114771 h 1293879"/>
                  <a:gd name="connsiteX48" fmla="*/ 756458 w 1296109"/>
                  <a:gd name="connsiteY48" fmla="*/ 1127741 h 1293879"/>
                  <a:gd name="connsiteX49" fmla="*/ 739030 w 1296109"/>
                  <a:gd name="connsiteY49" fmla="*/ 1250213 h 1293879"/>
                  <a:gd name="connsiteX50" fmla="*/ 681557 w 1296109"/>
                  <a:gd name="connsiteY50" fmla="*/ 1293366 h 1293879"/>
                  <a:gd name="connsiteX51" fmla="*/ 577132 w 1296109"/>
                  <a:gd name="connsiteY51" fmla="*/ 1278505 h 1293879"/>
                  <a:gd name="connsiteX52" fmla="*/ 533979 w 1296109"/>
                  <a:gd name="connsiteY52" fmla="*/ 1221032 h 1293879"/>
                  <a:gd name="connsiteX53" fmla="*/ 547230 w 1296109"/>
                  <a:gd name="connsiteY53" fmla="*/ 1127913 h 1293879"/>
                  <a:gd name="connsiteX54" fmla="*/ 475304 w 1296109"/>
                  <a:gd name="connsiteY54" fmla="*/ 1105535 h 1293879"/>
                  <a:gd name="connsiteX55" fmla="*/ 416016 w 1296109"/>
                  <a:gd name="connsiteY55" fmla="*/ 1196081 h 1293879"/>
                  <a:gd name="connsiteX56" fmla="*/ 345660 w 1296109"/>
                  <a:gd name="connsiteY56" fmla="*/ 1210759 h 1293879"/>
                  <a:gd name="connsiteX57" fmla="*/ 257416 w 1296109"/>
                  <a:gd name="connsiteY57" fmla="*/ 1152979 h 1293879"/>
                  <a:gd name="connsiteX58" fmla="*/ 242738 w 1296109"/>
                  <a:gd name="connsiteY58" fmla="*/ 1082622 h 1293879"/>
                  <a:gd name="connsiteX59" fmla="*/ 302953 w 1296109"/>
                  <a:gd name="connsiteY59" fmla="*/ 990659 h 1293879"/>
                  <a:gd name="connsiteX60" fmla="*/ 298482 w 1296109"/>
                  <a:gd name="connsiteY60" fmla="*/ 985429 h 1293879"/>
                  <a:gd name="connsiteX61" fmla="*/ 266931 w 1296109"/>
                  <a:gd name="connsiteY61" fmla="*/ 951673 h 1293879"/>
                  <a:gd name="connsiteX62" fmla="*/ 168186 w 1296109"/>
                  <a:gd name="connsiteY62" fmla="*/ 999969 h 1293879"/>
                  <a:gd name="connsiteX63" fmla="*/ 100205 w 1296109"/>
                  <a:gd name="connsiteY63" fmla="*/ 976645 h 1293879"/>
                  <a:gd name="connsiteX64" fmla="*/ 53862 w 1296109"/>
                  <a:gd name="connsiteY64" fmla="*/ 881893 h 1293879"/>
                  <a:gd name="connsiteX65" fmla="*/ 77186 w 1296109"/>
                  <a:gd name="connsiteY65" fmla="*/ 813912 h 1293879"/>
                  <a:gd name="connsiteX66" fmla="*/ 175931 w 1296109"/>
                  <a:gd name="connsiteY66" fmla="*/ 765616 h 1293879"/>
                  <a:gd name="connsiteX67" fmla="*/ 171615 w 1296109"/>
                  <a:gd name="connsiteY67" fmla="*/ 740645 h 1293879"/>
                  <a:gd name="connsiteX68" fmla="*/ 60401 w 1296109"/>
                  <a:gd name="connsiteY68" fmla="*/ 747473 h 1293879"/>
                  <a:gd name="connsiteX69" fmla="*/ 6563 w 1296109"/>
                  <a:gd name="connsiteY69" fmla="*/ 699863 h 1293879"/>
                  <a:gd name="connsiteX70" fmla="*/ 97 w 1296109"/>
                  <a:gd name="connsiteY70" fmla="*/ 594583 h 1293879"/>
                  <a:gd name="connsiteX71" fmla="*/ 47708 w 1296109"/>
                  <a:gd name="connsiteY71" fmla="*/ 540745 h 1293879"/>
                  <a:gd name="connsiteX72" fmla="*/ 173063 w 1296109"/>
                  <a:gd name="connsiteY72" fmla="*/ 533049 h 1293879"/>
                  <a:gd name="connsiteX73" fmla="*/ 189336 w 1296109"/>
                  <a:gd name="connsiteY73" fmla="*/ 482867 h 1293879"/>
                  <a:gd name="connsiteX74" fmla="*/ 91651 w 1296109"/>
                  <a:gd name="connsiteY74" fmla="*/ 432648 h 1293879"/>
                  <a:gd name="connsiteX75" fmla="*/ 69690 w 1296109"/>
                  <a:gd name="connsiteY75" fmla="*/ 364215 h 1293879"/>
                  <a:gd name="connsiteX76" fmla="*/ 117915 w 1296109"/>
                  <a:gd name="connsiteY76" fmla="*/ 270407 h 1293879"/>
                  <a:gd name="connsiteX77" fmla="*/ 186348 w 1296109"/>
                  <a:gd name="connsiteY77" fmla="*/ 248446 h 1293879"/>
                  <a:gd name="connsiteX78" fmla="*/ 297575 w 1296109"/>
                  <a:gd name="connsiteY78" fmla="*/ 305628 h 1293879"/>
                  <a:gd name="connsiteX79" fmla="*/ 323036 w 1296109"/>
                  <a:gd name="connsiteY79" fmla="*/ 280699 h 1293879"/>
                  <a:gd name="connsiteX80" fmla="*/ 266956 w 1296109"/>
                  <a:gd name="connsiteY80" fmla="*/ 178555 h 1293879"/>
                  <a:gd name="connsiteX81" fmla="*/ 262709 w 1296109"/>
                  <a:gd name="connsiteY81" fmla="*/ 139892 h 1293879"/>
                  <a:gd name="connsiteX82" fmla="*/ 287047 w 1296109"/>
                  <a:gd name="connsiteY82" fmla="*/ 109549 h 129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296109" h="1293879">
                    <a:moveTo>
                      <a:pt x="534897" y="456519"/>
                    </a:moveTo>
                    <a:cubicBezTo>
                      <a:pt x="429731" y="519014"/>
                      <a:pt x="395139" y="654931"/>
                      <a:pt x="457634" y="760098"/>
                    </a:cubicBezTo>
                    <a:cubicBezTo>
                      <a:pt x="520129" y="865264"/>
                      <a:pt x="656047" y="899856"/>
                      <a:pt x="761213" y="837361"/>
                    </a:cubicBezTo>
                    <a:cubicBezTo>
                      <a:pt x="866380" y="774865"/>
                      <a:pt x="900972" y="638948"/>
                      <a:pt x="838476" y="533782"/>
                    </a:cubicBezTo>
                    <a:cubicBezTo>
                      <a:pt x="775981" y="428615"/>
                      <a:pt x="640063" y="394023"/>
                      <a:pt x="534897" y="456519"/>
                    </a:cubicBezTo>
                    <a:close/>
                    <a:moveTo>
                      <a:pt x="287047" y="109549"/>
                    </a:moveTo>
                    <a:lnTo>
                      <a:pt x="379506" y="58788"/>
                    </a:lnTo>
                    <a:cubicBezTo>
                      <a:pt x="404109" y="45281"/>
                      <a:pt x="435004" y="54275"/>
                      <a:pt x="448512" y="78879"/>
                    </a:cubicBezTo>
                    <a:lnTo>
                      <a:pt x="502583" y="177363"/>
                    </a:lnTo>
                    <a:lnTo>
                      <a:pt x="555952" y="163545"/>
                    </a:lnTo>
                    <a:lnTo>
                      <a:pt x="559855" y="49089"/>
                    </a:lnTo>
                    <a:cubicBezTo>
                      <a:pt x="560334" y="35063"/>
                      <a:pt x="566452" y="22560"/>
                      <a:pt x="575956" y="13682"/>
                    </a:cubicBezTo>
                    <a:cubicBezTo>
                      <a:pt x="585461" y="4804"/>
                      <a:pt x="598353" y="-448"/>
                      <a:pt x="612379" y="30"/>
                    </a:cubicBezTo>
                    <a:lnTo>
                      <a:pt x="717795" y="3626"/>
                    </a:lnTo>
                    <a:cubicBezTo>
                      <a:pt x="745845" y="4583"/>
                      <a:pt x="767810" y="28098"/>
                      <a:pt x="766853" y="56150"/>
                    </a:cubicBezTo>
                    <a:lnTo>
                      <a:pt x="763058" y="167432"/>
                    </a:lnTo>
                    <a:lnTo>
                      <a:pt x="778804" y="170762"/>
                    </a:lnTo>
                    <a:lnTo>
                      <a:pt x="824298" y="65372"/>
                    </a:lnTo>
                    <a:cubicBezTo>
                      <a:pt x="835423" y="39604"/>
                      <a:pt x="865329" y="27732"/>
                      <a:pt x="891098" y="38856"/>
                    </a:cubicBezTo>
                    <a:lnTo>
                      <a:pt x="987939" y="80661"/>
                    </a:lnTo>
                    <a:cubicBezTo>
                      <a:pt x="1013708" y="91785"/>
                      <a:pt x="1025580" y="121692"/>
                      <a:pt x="1014455" y="147460"/>
                    </a:cubicBezTo>
                    <a:lnTo>
                      <a:pt x="963838" y="264716"/>
                    </a:lnTo>
                    <a:lnTo>
                      <a:pt x="1004698" y="303260"/>
                    </a:lnTo>
                    <a:lnTo>
                      <a:pt x="1096803" y="236512"/>
                    </a:lnTo>
                    <a:cubicBezTo>
                      <a:pt x="1119531" y="220043"/>
                      <a:pt x="1151305" y="225115"/>
                      <a:pt x="1167775" y="247842"/>
                    </a:cubicBezTo>
                    <a:lnTo>
                      <a:pt x="1229669" y="333252"/>
                    </a:lnTo>
                    <a:cubicBezTo>
                      <a:pt x="1246139" y="355979"/>
                      <a:pt x="1241067" y="387754"/>
                      <a:pt x="1218339" y="404223"/>
                    </a:cubicBezTo>
                    <a:lnTo>
                      <a:pt x="1114924" y="479166"/>
                    </a:lnTo>
                    <a:lnTo>
                      <a:pt x="1118015" y="489983"/>
                    </a:lnTo>
                    <a:lnTo>
                      <a:pt x="1128638" y="522191"/>
                    </a:lnTo>
                    <a:lnTo>
                      <a:pt x="1241513" y="519465"/>
                    </a:lnTo>
                    <a:cubicBezTo>
                      <a:pt x="1269572" y="518787"/>
                      <a:pt x="1292868" y="540983"/>
                      <a:pt x="1293546" y="569042"/>
                    </a:cubicBezTo>
                    <a:lnTo>
                      <a:pt x="1296094" y="674489"/>
                    </a:lnTo>
                    <a:cubicBezTo>
                      <a:pt x="1296773" y="702548"/>
                      <a:pt x="1274576" y="725844"/>
                      <a:pt x="1246516" y="726522"/>
                    </a:cubicBezTo>
                    <a:lnTo>
                      <a:pt x="1138094" y="729141"/>
                    </a:lnTo>
                    <a:lnTo>
                      <a:pt x="1133867" y="744886"/>
                    </a:lnTo>
                    <a:lnTo>
                      <a:pt x="1125064" y="784697"/>
                    </a:lnTo>
                    <a:lnTo>
                      <a:pt x="1223492" y="840017"/>
                    </a:lnTo>
                    <a:cubicBezTo>
                      <a:pt x="1247959" y="853768"/>
                      <a:pt x="1256647" y="884750"/>
                      <a:pt x="1242896" y="909218"/>
                    </a:cubicBezTo>
                    <a:lnTo>
                      <a:pt x="1191218" y="1001169"/>
                    </a:lnTo>
                    <a:cubicBezTo>
                      <a:pt x="1177467" y="1025637"/>
                      <a:pt x="1146484" y="1034324"/>
                      <a:pt x="1122016" y="1020573"/>
                    </a:cubicBezTo>
                    <a:lnTo>
                      <a:pt x="1027471" y="967436"/>
                    </a:lnTo>
                    <a:lnTo>
                      <a:pt x="987438" y="1006435"/>
                    </a:lnTo>
                    <a:lnTo>
                      <a:pt x="1034590" y="1119587"/>
                    </a:lnTo>
                    <a:cubicBezTo>
                      <a:pt x="1045387" y="1145494"/>
                      <a:pt x="1033136" y="1175248"/>
                      <a:pt x="1007228" y="1186045"/>
                    </a:cubicBezTo>
                    <a:lnTo>
                      <a:pt x="909865" y="1226616"/>
                    </a:lnTo>
                    <a:cubicBezTo>
                      <a:pt x="883957" y="1237411"/>
                      <a:pt x="854202" y="1225160"/>
                      <a:pt x="843407" y="1199253"/>
                    </a:cubicBezTo>
                    <a:lnTo>
                      <a:pt x="808203" y="1114771"/>
                    </a:lnTo>
                    <a:lnTo>
                      <a:pt x="756458" y="1127741"/>
                    </a:lnTo>
                    <a:lnTo>
                      <a:pt x="739030" y="1250213"/>
                    </a:lnTo>
                    <a:cubicBezTo>
                      <a:pt x="735077" y="1278000"/>
                      <a:pt x="709345" y="1297320"/>
                      <a:pt x="681557" y="1293366"/>
                    </a:cubicBezTo>
                    <a:lnTo>
                      <a:pt x="577132" y="1278505"/>
                    </a:lnTo>
                    <a:cubicBezTo>
                      <a:pt x="549345" y="1274550"/>
                      <a:pt x="530024" y="1248818"/>
                      <a:pt x="533979" y="1221032"/>
                    </a:cubicBezTo>
                    <a:lnTo>
                      <a:pt x="547230" y="1127913"/>
                    </a:lnTo>
                    <a:lnTo>
                      <a:pt x="475304" y="1105535"/>
                    </a:lnTo>
                    <a:lnTo>
                      <a:pt x="416016" y="1196081"/>
                    </a:lnTo>
                    <a:cubicBezTo>
                      <a:pt x="400640" y="1219563"/>
                      <a:pt x="369142" y="1226134"/>
                      <a:pt x="345660" y="1210759"/>
                    </a:cubicBezTo>
                    <a:lnTo>
                      <a:pt x="257416" y="1152979"/>
                    </a:lnTo>
                    <a:cubicBezTo>
                      <a:pt x="233934" y="1137603"/>
                      <a:pt x="227362" y="1106105"/>
                      <a:pt x="242738" y="1082622"/>
                    </a:cubicBezTo>
                    <a:lnTo>
                      <a:pt x="302953" y="990659"/>
                    </a:lnTo>
                    <a:lnTo>
                      <a:pt x="298482" y="985429"/>
                    </a:lnTo>
                    <a:lnTo>
                      <a:pt x="266931" y="951673"/>
                    </a:lnTo>
                    <a:lnTo>
                      <a:pt x="168186" y="999969"/>
                    </a:lnTo>
                    <a:cubicBezTo>
                      <a:pt x="142972" y="1012301"/>
                      <a:pt x="112537" y="1001858"/>
                      <a:pt x="100205" y="976645"/>
                    </a:cubicBezTo>
                    <a:lnTo>
                      <a:pt x="53862" y="881893"/>
                    </a:lnTo>
                    <a:cubicBezTo>
                      <a:pt x="41530" y="856679"/>
                      <a:pt x="51972" y="826244"/>
                      <a:pt x="77186" y="813912"/>
                    </a:cubicBezTo>
                    <a:lnTo>
                      <a:pt x="175931" y="765616"/>
                    </a:lnTo>
                    <a:lnTo>
                      <a:pt x="171615" y="740645"/>
                    </a:lnTo>
                    <a:lnTo>
                      <a:pt x="60401" y="747473"/>
                    </a:lnTo>
                    <a:cubicBezTo>
                      <a:pt x="32387" y="749193"/>
                      <a:pt x="8283" y="727878"/>
                      <a:pt x="6563" y="699863"/>
                    </a:cubicBezTo>
                    <a:lnTo>
                      <a:pt x="97" y="594583"/>
                    </a:lnTo>
                    <a:cubicBezTo>
                      <a:pt x="-1622" y="566569"/>
                      <a:pt x="19693" y="542465"/>
                      <a:pt x="47708" y="540745"/>
                    </a:cubicBezTo>
                    <a:lnTo>
                      <a:pt x="173063" y="533049"/>
                    </a:lnTo>
                    <a:lnTo>
                      <a:pt x="189336" y="482867"/>
                    </a:lnTo>
                    <a:lnTo>
                      <a:pt x="91651" y="432648"/>
                    </a:lnTo>
                    <a:cubicBezTo>
                      <a:pt x="66689" y="419815"/>
                      <a:pt x="56857" y="389177"/>
                      <a:pt x="69690" y="364215"/>
                    </a:cubicBezTo>
                    <a:lnTo>
                      <a:pt x="117915" y="270407"/>
                    </a:lnTo>
                    <a:cubicBezTo>
                      <a:pt x="130748" y="245445"/>
                      <a:pt x="161386" y="235613"/>
                      <a:pt x="186348" y="248446"/>
                    </a:cubicBezTo>
                    <a:lnTo>
                      <a:pt x="297575" y="305628"/>
                    </a:lnTo>
                    <a:lnTo>
                      <a:pt x="323036" y="280699"/>
                    </a:lnTo>
                    <a:lnTo>
                      <a:pt x="266956" y="178555"/>
                    </a:lnTo>
                    <a:cubicBezTo>
                      <a:pt x="260202" y="166253"/>
                      <a:pt x="259075" y="152379"/>
                      <a:pt x="262709" y="139892"/>
                    </a:cubicBezTo>
                    <a:cubicBezTo>
                      <a:pt x="266345" y="127404"/>
                      <a:pt x="274745" y="116303"/>
                      <a:pt x="287047" y="109549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961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Freeform 490"/>
              <p:cNvSpPr/>
              <p:nvPr/>
            </p:nvSpPr>
            <p:spPr bwMode="auto">
              <a:xfrm rot="2952883">
                <a:off x="6784327" y="2329492"/>
                <a:ext cx="471427" cy="470617"/>
              </a:xfrm>
              <a:custGeom>
                <a:avLst/>
                <a:gdLst>
                  <a:gd name="connsiteX0" fmla="*/ 534897 w 1296109"/>
                  <a:gd name="connsiteY0" fmla="*/ 456519 h 1293879"/>
                  <a:gd name="connsiteX1" fmla="*/ 457634 w 1296109"/>
                  <a:gd name="connsiteY1" fmla="*/ 760098 h 1293879"/>
                  <a:gd name="connsiteX2" fmla="*/ 761213 w 1296109"/>
                  <a:gd name="connsiteY2" fmla="*/ 837361 h 1293879"/>
                  <a:gd name="connsiteX3" fmla="*/ 838476 w 1296109"/>
                  <a:gd name="connsiteY3" fmla="*/ 533782 h 1293879"/>
                  <a:gd name="connsiteX4" fmla="*/ 534897 w 1296109"/>
                  <a:gd name="connsiteY4" fmla="*/ 456519 h 1293879"/>
                  <a:gd name="connsiteX5" fmla="*/ 287047 w 1296109"/>
                  <a:gd name="connsiteY5" fmla="*/ 109549 h 1293879"/>
                  <a:gd name="connsiteX6" fmla="*/ 379506 w 1296109"/>
                  <a:gd name="connsiteY6" fmla="*/ 58788 h 1293879"/>
                  <a:gd name="connsiteX7" fmla="*/ 448512 w 1296109"/>
                  <a:gd name="connsiteY7" fmla="*/ 78879 h 1293879"/>
                  <a:gd name="connsiteX8" fmla="*/ 502583 w 1296109"/>
                  <a:gd name="connsiteY8" fmla="*/ 177363 h 1293879"/>
                  <a:gd name="connsiteX9" fmla="*/ 555952 w 1296109"/>
                  <a:gd name="connsiteY9" fmla="*/ 163545 h 1293879"/>
                  <a:gd name="connsiteX10" fmla="*/ 559855 w 1296109"/>
                  <a:gd name="connsiteY10" fmla="*/ 49089 h 1293879"/>
                  <a:gd name="connsiteX11" fmla="*/ 575956 w 1296109"/>
                  <a:gd name="connsiteY11" fmla="*/ 13682 h 1293879"/>
                  <a:gd name="connsiteX12" fmla="*/ 612379 w 1296109"/>
                  <a:gd name="connsiteY12" fmla="*/ 30 h 1293879"/>
                  <a:gd name="connsiteX13" fmla="*/ 717795 w 1296109"/>
                  <a:gd name="connsiteY13" fmla="*/ 3626 h 1293879"/>
                  <a:gd name="connsiteX14" fmla="*/ 766853 w 1296109"/>
                  <a:gd name="connsiteY14" fmla="*/ 56150 h 1293879"/>
                  <a:gd name="connsiteX15" fmla="*/ 763058 w 1296109"/>
                  <a:gd name="connsiteY15" fmla="*/ 167432 h 1293879"/>
                  <a:gd name="connsiteX16" fmla="*/ 778804 w 1296109"/>
                  <a:gd name="connsiteY16" fmla="*/ 170762 h 1293879"/>
                  <a:gd name="connsiteX17" fmla="*/ 824298 w 1296109"/>
                  <a:gd name="connsiteY17" fmla="*/ 65372 h 1293879"/>
                  <a:gd name="connsiteX18" fmla="*/ 891098 w 1296109"/>
                  <a:gd name="connsiteY18" fmla="*/ 38856 h 1293879"/>
                  <a:gd name="connsiteX19" fmla="*/ 987939 w 1296109"/>
                  <a:gd name="connsiteY19" fmla="*/ 80661 h 1293879"/>
                  <a:gd name="connsiteX20" fmla="*/ 1014455 w 1296109"/>
                  <a:gd name="connsiteY20" fmla="*/ 147460 h 1293879"/>
                  <a:gd name="connsiteX21" fmla="*/ 963838 w 1296109"/>
                  <a:gd name="connsiteY21" fmla="*/ 264716 h 1293879"/>
                  <a:gd name="connsiteX22" fmla="*/ 1004698 w 1296109"/>
                  <a:gd name="connsiteY22" fmla="*/ 303260 h 1293879"/>
                  <a:gd name="connsiteX23" fmla="*/ 1096803 w 1296109"/>
                  <a:gd name="connsiteY23" fmla="*/ 236512 h 1293879"/>
                  <a:gd name="connsiteX24" fmla="*/ 1167775 w 1296109"/>
                  <a:gd name="connsiteY24" fmla="*/ 247842 h 1293879"/>
                  <a:gd name="connsiteX25" fmla="*/ 1229669 w 1296109"/>
                  <a:gd name="connsiteY25" fmla="*/ 333252 h 1293879"/>
                  <a:gd name="connsiteX26" fmla="*/ 1218339 w 1296109"/>
                  <a:gd name="connsiteY26" fmla="*/ 404223 h 1293879"/>
                  <a:gd name="connsiteX27" fmla="*/ 1114924 w 1296109"/>
                  <a:gd name="connsiteY27" fmla="*/ 479166 h 1293879"/>
                  <a:gd name="connsiteX28" fmla="*/ 1118015 w 1296109"/>
                  <a:gd name="connsiteY28" fmla="*/ 489983 h 1293879"/>
                  <a:gd name="connsiteX29" fmla="*/ 1128638 w 1296109"/>
                  <a:gd name="connsiteY29" fmla="*/ 522191 h 1293879"/>
                  <a:gd name="connsiteX30" fmla="*/ 1241513 w 1296109"/>
                  <a:gd name="connsiteY30" fmla="*/ 519465 h 1293879"/>
                  <a:gd name="connsiteX31" fmla="*/ 1293546 w 1296109"/>
                  <a:gd name="connsiteY31" fmla="*/ 569042 h 1293879"/>
                  <a:gd name="connsiteX32" fmla="*/ 1296094 w 1296109"/>
                  <a:gd name="connsiteY32" fmla="*/ 674489 h 1293879"/>
                  <a:gd name="connsiteX33" fmla="*/ 1246516 w 1296109"/>
                  <a:gd name="connsiteY33" fmla="*/ 726522 h 1293879"/>
                  <a:gd name="connsiteX34" fmla="*/ 1138094 w 1296109"/>
                  <a:gd name="connsiteY34" fmla="*/ 729141 h 1293879"/>
                  <a:gd name="connsiteX35" fmla="*/ 1133867 w 1296109"/>
                  <a:gd name="connsiteY35" fmla="*/ 744886 h 1293879"/>
                  <a:gd name="connsiteX36" fmla="*/ 1125064 w 1296109"/>
                  <a:gd name="connsiteY36" fmla="*/ 784697 h 1293879"/>
                  <a:gd name="connsiteX37" fmla="*/ 1223492 w 1296109"/>
                  <a:gd name="connsiteY37" fmla="*/ 840017 h 1293879"/>
                  <a:gd name="connsiteX38" fmla="*/ 1242896 w 1296109"/>
                  <a:gd name="connsiteY38" fmla="*/ 909218 h 1293879"/>
                  <a:gd name="connsiteX39" fmla="*/ 1191218 w 1296109"/>
                  <a:gd name="connsiteY39" fmla="*/ 1001169 h 1293879"/>
                  <a:gd name="connsiteX40" fmla="*/ 1122016 w 1296109"/>
                  <a:gd name="connsiteY40" fmla="*/ 1020573 h 1293879"/>
                  <a:gd name="connsiteX41" fmla="*/ 1027471 w 1296109"/>
                  <a:gd name="connsiteY41" fmla="*/ 967436 h 1293879"/>
                  <a:gd name="connsiteX42" fmla="*/ 987438 w 1296109"/>
                  <a:gd name="connsiteY42" fmla="*/ 1006435 h 1293879"/>
                  <a:gd name="connsiteX43" fmla="*/ 1034590 w 1296109"/>
                  <a:gd name="connsiteY43" fmla="*/ 1119587 h 1293879"/>
                  <a:gd name="connsiteX44" fmla="*/ 1007228 w 1296109"/>
                  <a:gd name="connsiteY44" fmla="*/ 1186045 h 1293879"/>
                  <a:gd name="connsiteX45" fmla="*/ 909865 w 1296109"/>
                  <a:gd name="connsiteY45" fmla="*/ 1226616 h 1293879"/>
                  <a:gd name="connsiteX46" fmla="*/ 843407 w 1296109"/>
                  <a:gd name="connsiteY46" fmla="*/ 1199253 h 1293879"/>
                  <a:gd name="connsiteX47" fmla="*/ 808203 w 1296109"/>
                  <a:gd name="connsiteY47" fmla="*/ 1114771 h 1293879"/>
                  <a:gd name="connsiteX48" fmla="*/ 756458 w 1296109"/>
                  <a:gd name="connsiteY48" fmla="*/ 1127741 h 1293879"/>
                  <a:gd name="connsiteX49" fmla="*/ 739030 w 1296109"/>
                  <a:gd name="connsiteY49" fmla="*/ 1250213 h 1293879"/>
                  <a:gd name="connsiteX50" fmla="*/ 681557 w 1296109"/>
                  <a:gd name="connsiteY50" fmla="*/ 1293366 h 1293879"/>
                  <a:gd name="connsiteX51" fmla="*/ 577132 w 1296109"/>
                  <a:gd name="connsiteY51" fmla="*/ 1278505 h 1293879"/>
                  <a:gd name="connsiteX52" fmla="*/ 533979 w 1296109"/>
                  <a:gd name="connsiteY52" fmla="*/ 1221032 h 1293879"/>
                  <a:gd name="connsiteX53" fmla="*/ 547230 w 1296109"/>
                  <a:gd name="connsiteY53" fmla="*/ 1127913 h 1293879"/>
                  <a:gd name="connsiteX54" fmla="*/ 475304 w 1296109"/>
                  <a:gd name="connsiteY54" fmla="*/ 1105535 h 1293879"/>
                  <a:gd name="connsiteX55" fmla="*/ 416016 w 1296109"/>
                  <a:gd name="connsiteY55" fmla="*/ 1196081 h 1293879"/>
                  <a:gd name="connsiteX56" fmla="*/ 345660 w 1296109"/>
                  <a:gd name="connsiteY56" fmla="*/ 1210759 h 1293879"/>
                  <a:gd name="connsiteX57" fmla="*/ 257416 w 1296109"/>
                  <a:gd name="connsiteY57" fmla="*/ 1152979 h 1293879"/>
                  <a:gd name="connsiteX58" fmla="*/ 242738 w 1296109"/>
                  <a:gd name="connsiteY58" fmla="*/ 1082622 h 1293879"/>
                  <a:gd name="connsiteX59" fmla="*/ 302953 w 1296109"/>
                  <a:gd name="connsiteY59" fmla="*/ 990659 h 1293879"/>
                  <a:gd name="connsiteX60" fmla="*/ 298482 w 1296109"/>
                  <a:gd name="connsiteY60" fmla="*/ 985429 h 1293879"/>
                  <a:gd name="connsiteX61" fmla="*/ 266931 w 1296109"/>
                  <a:gd name="connsiteY61" fmla="*/ 951673 h 1293879"/>
                  <a:gd name="connsiteX62" fmla="*/ 168186 w 1296109"/>
                  <a:gd name="connsiteY62" fmla="*/ 999969 h 1293879"/>
                  <a:gd name="connsiteX63" fmla="*/ 100205 w 1296109"/>
                  <a:gd name="connsiteY63" fmla="*/ 976645 h 1293879"/>
                  <a:gd name="connsiteX64" fmla="*/ 53862 w 1296109"/>
                  <a:gd name="connsiteY64" fmla="*/ 881893 h 1293879"/>
                  <a:gd name="connsiteX65" fmla="*/ 77186 w 1296109"/>
                  <a:gd name="connsiteY65" fmla="*/ 813912 h 1293879"/>
                  <a:gd name="connsiteX66" fmla="*/ 175931 w 1296109"/>
                  <a:gd name="connsiteY66" fmla="*/ 765616 h 1293879"/>
                  <a:gd name="connsiteX67" fmla="*/ 171615 w 1296109"/>
                  <a:gd name="connsiteY67" fmla="*/ 740645 h 1293879"/>
                  <a:gd name="connsiteX68" fmla="*/ 60401 w 1296109"/>
                  <a:gd name="connsiteY68" fmla="*/ 747473 h 1293879"/>
                  <a:gd name="connsiteX69" fmla="*/ 6563 w 1296109"/>
                  <a:gd name="connsiteY69" fmla="*/ 699863 h 1293879"/>
                  <a:gd name="connsiteX70" fmla="*/ 97 w 1296109"/>
                  <a:gd name="connsiteY70" fmla="*/ 594583 h 1293879"/>
                  <a:gd name="connsiteX71" fmla="*/ 47708 w 1296109"/>
                  <a:gd name="connsiteY71" fmla="*/ 540745 h 1293879"/>
                  <a:gd name="connsiteX72" fmla="*/ 173063 w 1296109"/>
                  <a:gd name="connsiteY72" fmla="*/ 533049 h 1293879"/>
                  <a:gd name="connsiteX73" fmla="*/ 189336 w 1296109"/>
                  <a:gd name="connsiteY73" fmla="*/ 482867 h 1293879"/>
                  <a:gd name="connsiteX74" fmla="*/ 91651 w 1296109"/>
                  <a:gd name="connsiteY74" fmla="*/ 432648 h 1293879"/>
                  <a:gd name="connsiteX75" fmla="*/ 69690 w 1296109"/>
                  <a:gd name="connsiteY75" fmla="*/ 364215 h 1293879"/>
                  <a:gd name="connsiteX76" fmla="*/ 117915 w 1296109"/>
                  <a:gd name="connsiteY76" fmla="*/ 270407 h 1293879"/>
                  <a:gd name="connsiteX77" fmla="*/ 186348 w 1296109"/>
                  <a:gd name="connsiteY77" fmla="*/ 248446 h 1293879"/>
                  <a:gd name="connsiteX78" fmla="*/ 297575 w 1296109"/>
                  <a:gd name="connsiteY78" fmla="*/ 305628 h 1293879"/>
                  <a:gd name="connsiteX79" fmla="*/ 323036 w 1296109"/>
                  <a:gd name="connsiteY79" fmla="*/ 280699 h 1293879"/>
                  <a:gd name="connsiteX80" fmla="*/ 266956 w 1296109"/>
                  <a:gd name="connsiteY80" fmla="*/ 178555 h 1293879"/>
                  <a:gd name="connsiteX81" fmla="*/ 262709 w 1296109"/>
                  <a:gd name="connsiteY81" fmla="*/ 139892 h 1293879"/>
                  <a:gd name="connsiteX82" fmla="*/ 287047 w 1296109"/>
                  <a:gd name="connsiteY82" fmla="*/ 109549 h 129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296109" h="1293879">
                    <a:moveTo>
                      <a:pt x="534897" y="456519"/>
                    </a:moveTo>
                    <a:cubicBezTo>
                      <a:pt x="429731" y="519014"/>
                      <a:pt x="395139" y="654931"/>
                      <a:pt x="457634" y="760098"/>
                    </a:cubicBezTo>
                    <a:cubicBezTo>
                      <a:pt x="520129" y="865264"/>
                      <a:pt x="656047" y="899856"/>
                      <a:pt x="761213" y="837361"/>
                    </a:cubicBezTo>
                    <a:cubicBezTo>
                      <a:pt x="866380" y="774865"/>
                      <a:pt x="900972" y="638948"/>
                      <a:pt x="838476" y="533782"/>
                    </a:cubicBezTo>
                    <a:cubicBezTo>
                      <a:pt x="775981" y="428615"/>
                      <a:pt x="640063" y="394023"/>
                      <a:pt x="534897" y="456519"/>
                    </a:cubicBezTo>
                    <a:close/>
                    <a:moveTo>
                      <a:pt x="287047" y="109549"/>
                    </a:moveTo>
                    <a:lnTo>
                      <a:pt x="379506" y="58788"/>
                    </a:lnTo>
                    <a:cubicBezTo>
                      <a:pt x="404109" y="45281"/>
                      <a:pt x="435004" y="54275"/>
                      <a:pt x="448512" y="78879"/>
                    </a:cubicBezTo>
                    <a:lnTo>
                      <a:pt x="502583" y="177363"/>
                    </a:lnTo>
                    <a:lnTo>
                      <a:pt x="555952" y="163545"/>
                    </a:lnTo>
                    <a:lnTo>
                      <a:pt x="559855" y="49089"/>
                    </a:lnTo>
                    <a:cubicBezTo>
                      <a:pt x="560334" y="35063"/>
                      <a:pt x="566452" y="22560"/>
                      <a:pt x="575956" y="13682"/>
                    </a:cubicBezTo>
                    <a:cubicBezTo>
                      <a:pt x="585461" y="4804"/>
                      <a:pt x="598353" y="-448"/>
                      <a:pt x="612379" y="30"/>
                    </a:cubicBezTo>
                    <a:lnTo>
                      <a:pt x="717795" y="3626"/>
                    </a:lnTo>
                    <a:cubicBezTo>
                      <a:pt x="745845" y="4583"/>
                      <a:pt x="767810" y="28098"/>
                      <a:pt x="766853" y="56150"/>
                    </a:cubicBezTo>
                    <a:lnTo>
                      <a:pt x="763058" y="167432"/>
                    </a:lnTo>
                    <a:lnTo>
                      <a:pt x="778804" y="170762"/>
                    </a:lnTo>
                    <a:lnTo>
                      <a:pt x="824298" y="65372"/>
                    </a:lnTo>
                    <a:cubicBezTo>
                      <a:pt x="835423" y="39604"/>
                      <a:pt x="865329" y="27732"/>
                      <a:pt x="891098" y="38856"/>
                    </a:cubicBezTo>
                    <a:lnTo>
                      <a:pt x="987939" y="80661"/>
                    </a:lnTo>
                    <a:cubicBezTo>
                      <a:pt x="1013708" y="91785"/>
                      <a:pt x="1025580" y="121692"/>
                      <a:pt x="1014455" y="147460"/>
                    </a:cubicBezTo>
                    <a:lnTo>
                      <a:pt x="963838" y="264716"/>
                    </a:lnTo>
                    <a:lnTo>
                      <a:pt x="1004698" y="303260"/>
                    </a:lnTo>
                    <a:lnTo>
                      <a:pt x="1096803" y="236512"/>
                    </a:lnTo>
                    <a:cubicBezTo>
                      <a:pt x="1119531" y="220043"/>
                      <a:pt x="1151305" y="225115"/>
                      <a:pt x="1167775" y="247842"/>
                    </a:cubicBezTo>
                    <a:lnTo>
                      <a:pt x="1229669" y="333252"/>
                    </a:lnTo>
                    <a:cubicBezTo>
                      <a:pt x="1246139" y="355979"/>
                      <a:pt x="1241067" y="387754"/>
                      <a:pt x="1218339" y="404223"/>
                    </a:cubicBezTo>
                    <a:lnTo>
                      <a:pt x="1114924" y="479166"/>
                    </a:lnTo>
                    <a:lnTo>
                      <a:pt x="1118015" y="489983"/>
                    </a:lnTo>
                    <a:lnTo>
                      <a:pt x="1128638" y="522191"/>
                    </a:lnTo>
                    <a:lnTo>
                      <a:pt x="1241513" y="519465"/>
                    </a:lnTo>
                    <a:cubicBezTo>
                      <a:pt x="1269572" y="518787"/>
                      <a:pt x="1292868" y="540983"/>
                      <a:pt x="1293546" y="569042"/>
                    </a:cubicBezTo>
                    <a:lnTo>
                      <a:pt x="1296094" y="674489"/>
                    </a:lnTo>
                    <a:cubicBezTo>
                      <a:pt x="1296773" y="702548"/>
                      <a:pt x="1274576" y="725844"/>
                      <a:pt x="1246516" y="726522"/>
                    </a:cubicBezTo>
                    <a:lnTo>
                      <a:pt x="1138094" y="729141"/>
                    </a:lnTo>
                    <a:lnTo>
                      <a:pt x="1133867" y="744886"/>
                    </a:lnTo>
                    <a:lnTo>
                      <a:pt x="1125064" y="784697"/>
                    </a:lnTo>
                    <a:lnTo>
                      <a:pt x="1223492" y="840017"/>
                    </a:lnTo>
                    <a:cubicBezTo>
                      <a:pt x="1247959" y="853768"/>
                      <a:pt x="1256647" y="884750"/>
                      <a:pt x="1242896" y="909218"/>
                    </a:cubicBezTo>
                    <a:lnTo>
                      <a:pt x="1191218" y="1001169"/>
                    </a:lnTo>
                    <a:cubicBezTo>
                      <a:pt x="1177467" y="1025637"/>
                      <a:pt x="1146484" y="1034324"/>
                      <a:pt x="1122016" y="1020573"/>
                    </a:cubicBezTo>
                    <a:lnTo>
                      <a:pt x="1027471" y="967436"/>
                    </a:lnTo>
                    <a:lnTo>
                      <a:pt x="987438" y="1006435"/>
                    </a:lnTo>
                    <a:lnTo>
                      <a:pt x="1034590" y="1119587"/>
                    </a:lnTo>
                    <a:cubicBezTo>
                      <a:pt x="1045387" y="1145494"/>
                      <a:pt x="1033136" y="1175248"/>
                      <a:pt x="1007228" y="1186045"/>
                    </a:cubicBezTo>
                    <a:lnTo>
                      <a:pt x="909865" y="1226616"/>
                    </a:lnTo>
                    <a:cubicBezTo>
                      <a:pt x="883957" y="1237411"/>
                      <a:pt x="854202" y="1225160"/>
                      <a:pt x="843407" y="1199253"/>
                    </a:cubicBezTo>
                    <a:lnTo>
                      <a:pt x="808203" y="1114771"/>
                    </a:lnTo>
                    <a:lnTo>
                      <a:pt x="756458" y="1127741"/>
                    </a:lnTo>
                    <a:lnTo>
                      <a:pt x="739030" y="1250213"/>
                    </a:lnTo>
                    <a:cubicBezTo>
                      <a:pt x="735077" y="1278000"/>
                      <a:pt x="709345" y="1297320"/>
                      <a:pt x="681557" y="1293366"/>
                    </a:cubicBezTo>
                    <a:lnTo>
                      <a:pt x="577132" y="1278505"/>
                    </a:lnTo>
                    <a:cubicBezTo>
                      <a:pt x="549345" y="1274550"/>
                      <a:pt x="530024" y="1248818"/>
                      <a:pt x="533979" y="1221032"/>
                    </a:cubicBezTo>
                    <a:lnTo>
                      <a:pt x="547230" y="1127913"/>
                    </a:lnTo>
                    <a:lnTo>
                      <a:pt x="475304" y="1105535"/>
                    </a:lnTo>
                    <a:lnTo>
                      <a:pt x="416016" y="1196081"/>
                    </a:lnTo>
                    <a:cubicBezTo>
                      <a:pt x="400640" y="1219563"/>
                      <a:pt x="369142" y="1226134"/>
                      <a:pt x="345660" y="1210759"/>
                    </a:cubicBezTo>
                    <a:lnTo>
                      <a:pt x="257416" y="1152979"/>
                    </a:lnTo>
                    <a:cubicBezTo>
                      <a:pt x="233934" y="1137603"/>
                      <a:pt x="227362" y="1106105"/>
                      <a:pt x="242738" y="1082622"/>
                    </a:cubicBezTo>
                    <a:lnTo>
                      <a:pt x="302953" y="990659"/>
                    </a:lnTo>
                    <a:lnTo>
                      <a:pt x="298482" y="985429"/>
                    </a:lnTo>
                    <a:lnTo>
                      <a:pt x="266931" y="951673"/>
                    </a:lnTo>
                    <a:lnTo>
                      <a:pt x="168186" y="999969"/>
                    </a:lnTo>
                    <a:cubicBezTo>
                      <a:pt x="142972" y="1012301"/>
                      <a:pt x="112537" y="1001858"/>
                      <a:pt x="100205" y="976645"/>
                    </a:cubicBezTo>
                    <a:lnTo>
                      <a:pt x="53862" y="881893"/>
                    </a:lnTo>
                    <a:cubicBezTo>
                      <a:pt x="41530" y="856679"/>
                      <a:pt x="51972" y="826244"/>
                      <a:pt x="77186" y="813912"/>
                    </a:cubicBezTo>
                    <a:lnTo>
                      <a:pt x="175931" y="765616"/>
                    </a:lnTo>
                    <a:lnTo>
                      <a:pt x="171615" y="740645"/>
                    </a:lnTo>
                    <a:lnTo>
                      <a:pt x="60401" y="747473"/>
                    </a:lnTo>
                    <a:cubicBezTo>
                      <a:pt x="32387" y="749193"/>
                      <a:pt x="8283" y="727878"/>
                      <a:pt x="6563" y="699863"/>
                    </a:cubicBezTo>
                    <a:lnTo>
                      <a:pt x="97" y="594583"/>
                    </a:lnTo>
                    <a:cubicBezTo>
                      <a:pt x="-1622" y="566569"/>
                      <a:pt x="19693" y="542465"/>
                      <a:pt x="47708" y="540745"/>
                    </a:cubicBezTo>
                    <a:lnTo>
                      <a:pt x="173063" y="533049"/>
                    </a:lnTo>
                    <a:lnTo>
                      <a:pt x="189336" y="482867"/>
                    </a:lnTo>
                    <a:lnTo>
                      <a:pt x="91651" y="432648"/>
                    </a:lnTo>
                    <a:cubicBezTo>
                      <a:pt x="66689" y="419815"/>
                      <a:pt x="56857" y="389177"/>
                      <a:pt x="69690" y="364215"/>
                    </a:cubicBezTo>
                    <a:lnTo>
                      <a:pt x="117915" y="270407"/>
                    </a:lnTo>
                    <a:cubicBezTo>
                      <a:pt x="130748" y="245445"/>
                      <a:pt x="161386" y="235613"/>
                      <a:pt x="186348" y="248446"/>
                    </a:cubicBezTo>
                    <a:lnTo>
                      <a:pt x="297575" y="305628"/>
                    </a:lnTo>
                    <a:lnTo>
                      <a:pt x="323036" y="280699"/>
                    </a:lnTo>
                    <a:lnTo>
                      <a:pt x="266956" y="178555"/>
                    </a:lnTo>
                    <a:cubicBezTo>
                      <a:pt x="260202" y="166253"/>
                      <a:pt x="259075" y="152379"/>
                      <a:pt x="262709" y="139892"/>
                    </a:cubicBezTo>
                    <a:cubicBezTo>
                      <a:pt x="266345" y="127404"/>
                      <a:pt x="274745" y="116303"/>
                      <a:pt x="287047" y="109549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961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305" name="Freeform 33"/>
            <p:cNvSpPr>
              <a:spLocks noEditPoints="1"/>
            </p:cNvSpPr>
            <p:nvPr/>
          </p:nvSpPr>
          <p:spPr bwMode="auto">
            <a:xfrm>
              <a:off x="6230917" y="4534324"/>
              <a:ext cx="544348" cy="544348"/>
            </a:xfrm>
            <a:custGeom>
              <a:avLst/>
              <a:gdLst>
                <a:gd name="T0" fmla="*/ 264 w 302"/>
                <a:gd name="T1" fmla="*/ 100 h 302"/>
                <a:gd name="T2" fmla="*/ 274 w 302"/>
                <a:gd name="T3" fmla="*/ 69 h 302"/>
                <a:gd name="T4" fmla="*/ 248 w 302"/>
                <a:gd name="T5" fmla="*/ 61 h 302"/>
                <a:gd name="T6" fmla="*/ 233 w 302"/>
                <a:gd name="T7" fmla="*/ 47 h 302"/>
                <a:gd name="T8" fmla="*/ 224 w 302"/>
                <a:gd name="T9" fmla="*/ 22 h 302"/>
                <a:gd name="T10" fmla="*/ 196 w 302"/>
                <a:gd name="T11" fmla="*/ 35 h 302"/>
                <a:gd name="T12" fmla="*/ 180 w 302"/>
                <a:gd name="T13" fmla="*/ 6 h 302"/>
                <a:gd name="T14" fmla="*/ 157 w 302"/>
                <a:gd name="T15" fmla="*/ 19 h 302"/>
                <a:gd name="T16" fmla="*/ 136 w 302"/>
                <a:gd name="T17" fmla="*/ 20 h 302"/>
                <a:gd name="T18" fmla="*/ 112 w 302"/>
                <a:gd name="T19" fmla="*/ 8 h 302"/>
                <a:gd name="T20" fmla="*/ 101 w 302"/>
                <a:gd name="T21" fmla="*/ 38 h 302"/>
                <a:gd name="T22" fmla="*/ 69 w 302"/>
                <a:gd name="T23" fmla="*/ 28 h 302"/>
                <a:gd name="T24" fmla="*/ 62 w 302"/>
                <a:gd name="T25" fmla="*/ 54 h 302"/>
                <a:gd name="T26" fmla="*/ 48 w 302"/>
                <a:gd name="T27" fmla="*/ 69 h 302"/>
                <a:gd name="T28" fmla="*/ 23 w 302"/>
                <a:gd name="T29" fmla="*/ 78 h 302"/>
                <a:gd name="T30" fmla="*/ 36 w 302"/>
                <a:gd name="T31" fmla="*/ 107 h 302"/>
                <a:gd name="T32" fmla="*/ 6 w 302"/>
                <a:gd name="T33" fmla="*/ 122 h 302"/>
                <a:gd name="T34" fmla="*/ 20 w 302"/>
                <a:gd name="T35" fmla="*/ 145 h 302"/>
                <a:gd name="T36" fmla="*/ 20 w 302"/>
                <a:gd name="T37" fmla="*/ 166 h 302"/>
                <a:gd name="T38" fmla="*/ 9 w 302"/>
                <a:gd name="T39" fmla="*/ 190 h 302"/>
                <a:gd name="T40" fmla="*/ 38 w 302"/>
                <a:gd name="T41" fmla="*/ 201 h 302"/>
                <a:gd name="T42" fmla="*/ 28 w 302"/>
                <a:gd name="T43" fmla="*/ 233 h 302"/>
                <a:gd name="T44" fmla="*/ 54 w 302"/>
                <a:gd name="T45" fmla="*/ 240 h 302"/>
                <a:gd name="T46" fmla="*/ 69 w 302"/>
                <a:gd name="T47" fmla="*/ 254 h 302"/>
                <a:gd name="T48" fmla="*/ 78 w 302"/>
                <a:gd name="T49" fmla="*/ 279 h 302"/>
                <a:gd name="T50" fmla="*/ 107 w 302"/>
                <a:gd name="T51" fmla="*/ 266 h 302"/>
                <a:gd name="T52" fmla="*/ 123 w 302"/>
                <a:gd name="T53" fmla="*/ 296 h 302"/>
                <a:gd name="T54" fmla="*/ 146 w 302"/>
                <a:gd name="T55" fmla="*/ 282 h 302"/>
                <a:gd name="T56" fmla="*/ 166 w 302"/>
                <a:gd name="T57" fmla="*/ 282 h 302"/>
                <a:gd name="T58" fmla="*/ 191 w 302"/>
                <a:gd name="T59" fmla="*/ 293 h 302"/>
                <a:gd name="T60" fmla="*/ 202 w 302"/>
                <a:gd name="T61" fmla="*/ 264 h 302"/>
                <a:gd name="T62" fmla="*/ 233 w 302"/>
                <a:gd name="T63" fmla="*/ 274 h 302"/>
                <a:gd name="T64" fmla="*/ 241 w 302"/>
                <a:gd name="T65" fmla="*/ 248 h 302"/>
                <a:gd name="T66" fmla="*/ 255 w 302"/>
                <a:gd name="T67" fmla="*/ 233 h 302"/>
                <a:gd name="T68" fmla="*/ 280 w 302"/>
                <a:gd name="T69" fmla="*/ 224 h 302"/>
                <a:gd name="T70" fmla="*/ 267 w 302"/>
                <a:gd name="T71" fmla="*/ 195 h 302"/>
                <a:gd name="T72" fmla="*/ 296 w 302"/>
                <a:gd name="T73" fmla="*/ 180 h 302"/>
                <a:gd name="T74" fmla="*/ 283 w 302"/>
                <a:gd name="T75" fmla="*/ 156 h 302"/>
                <a:gd name="T76" fmla="*/ 282 w 302"/>
                <a:gd name="T77" fmla="*/ 136 h 302"/>
                <a:gd name="T78" fmla="*/ 294 w 302"/>
                <a:gd name="T79" fmla="*/ 111 h 302"/>
                <a:gd name="T80" fmla="*/ 147 w 302"/>
                <a:gd name="T81" fmla="*/ 176 h 302"/>
                <a:gd name="T82" fmla="*/ 156 w 302"/>
                <a:gd name="T83" fmla="*/ 125 h 302"/>
                <a:gd name="T84" fmla="*/ 147 w 302"/>
                <a:gd name="T85" fmla="*/ 17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2" h="302">
                  <a:moveTo>
                    <a:pt x="275" y="105"/>
                  </a:moveTo>
                  <a:cubicBezTo>
                    <a:pt x="270" y="103"/>
                    <a:pt x="265" y="101"/>
                    <a:pt x="264" y="100"/>
                  </a:cubicBezTo>
                  <a:cubicBezTo>
                    <a:pt x="264" y="99"/>
                    <a:pt x="264" y="92"/>
                    <a:pt x="267" y="87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6" y="63"/>
                    <a:pt x="274" y="60"/>
                    <a:pt x="268" y="60"/>
                  </a:cubicBezTo>
                  <a:cubicBezTo>
                    <a:pt x="248" y="61"/>
                    <a:pt x="248" y="61"/>
                    <a:pt x="248" y="61"/>
                  </a:cubicBezTo>
                  <a:cubicBezTo>
                    <a:pt x="243" y="62"/>
                    <a:pt x="237" y="62"/>
                    <a:pt x="237" y="61"/>
                  </a:cubicBezTo>
                  <a:cubicBezTo>
                    <a:pt x="236" y="60"/>
                    <a:pt x="233" y="53"/>
                    <a:pt x="233" y="47"/>
                  </a:cubicBezTo>
                  <a:cubicBezTo>
                    <a:pt x="233" y="28"/>
                    <a:pt x="233" y="28"/>
                    <a:pt x="233" y="28"/>
                  </a:cubicBezTo>
                  <a:cubicBezTo>
                    <a:pt x="233" y="22"/>
                    <a:pt x="229" y="20"/>
                    <a:pt x="224" y="22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2" y="34"/>
                    <a:pt x="197" y="35"/>
                    <a:pt x="196" y="35"/>
                  </a:cubicBezTo>
                  <a:cubicBezTo>
                    <a:pt x="194" y="34"/>
                    <a:pt x="190" y="29"/>
                    <a:pt x="188" y="24"/>
                  </a:cubicBezTo>
                  <a:cubicBezTo>
                    <a:pt x="180" y="6"/>
                    <a:pt x="180" y="6"/>
                    <a:pt x="180" y="6"/>
                  </a:cubicBezTo>
                  <a:cubicBezTo>
                    <a:pt x="178" y="1"/>
                    <a:pt x="173" y="0"/>
                    <a:pt x="170" y="4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3" y="23"/>
                    <a:pt x="149" y="27"/>
                    <a:pt x="148" y="27"/>
                  </a:cubicBezTo>
                  <a:cubicBezTo>
                    <a:pt x="147" y="27"/>
                    <a:pt x="140" y="24"/>
                    <a:pt x="136" y="20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18" y="2"/>
                    <a:pt x="114" y="3"/>
                    <a:pt x="112" y="8"/>
                  </a:cubicBezTo>
                  <a:cubicBezTo>
                    <a:pt x="106" y="27"/>
                    <a:pt x="106" y="27"/>
                    <a:pt x="106" y="27"/>
                  </a:cubicBezTo>
                  <a:cubicBezTo>
                    <a:pt x="104" y="32"/>
                    <a:pt x="102" y="37"/>
                    <a:pt x="101" y="38"/>
                  </a:cubicBezTo>
                  <a:cubicBezTo>
                    <a:pt x="100" y="38"/>
                    <a:pt x="93" y="38"/>
                    <a:pt x="88" y="35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4" y="26"/>
                    <a:pt x="60" y="28"/>
                    <a:pt x="61" y="3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3" y="59"/>
                    <a:pt x="62" y="65"/>
                    <a:pt x="61" y="66"/>
                  </a:cubicBezTo>
                  <a:cubicBezTo>
                    <a:pt x="61" y="66"/>
                    <a:pt x="54" y="69"/>
                    <a:pt x="4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3" y="69"/>
                    <a:pt x="20" y="73"/>
                    <a:pt x="23" y="78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4" y="100"/>
                    <a:pt x="36" y="105"/>
                    <a:pt x="36" y="107"/>
                  </a:cubicBezTo>
                  <a:cubicBezTo>
                    <a:pt x="35" y="108"/>
                    <a:pt x="30" y="112"/>
                    <a:pt x="25" y="114"/>
                  </a:cubicBezTo>
                  <a:cubicBezTo>
                    <a:pt x="6" y="122"/>
                    <a:pt x="6" y="122"/>
                    <a:pt x="6" y="122"/>
                  </a:cubicBezTo>
                  <a:cubicBezTo>
                    <a:pt x="1" y="124"/>
                    <a:pt x="0" y="129"/>
                    <a:pt x="5" y="132"/>
                  </a:cubicBezTo>
                  <a:cubicBezTo>
                    <a:pt x="20" y="145"/>
                    <a:pt x="20" y="145"/>
                    <a:pt x="20" y="145"/>
                  </a:cubicBezTo>
                  <a:cubicBezTo>
                    <a:pt x="24" y="149"/>
                    <a:pt x="27" y="153"/>
                    <a:pt x="27" y="154"/>
                  </a:cubicBezTo>
                  <a:cubicBezTo>
                    <a:pt x="28" y="155"/>
                    <a:pt x="24" y="162"/>
                    <a:pt x="20" y="166"/>
                  </a:cubicBezTo>
                  <a:cubicBezTo>
                    <a:pt x="6" y="180"/>
                    <a:pt x="6" y="180"/>
                    <a:pt x="6" y="180"/>
                  </a:cubicBezTo>
                  <a:cubicBezTo>
                    <a:pt x="2" y="184"/>
                    <a:pt x="4" y="188"/>
                    <a:pt x="9" y="190"/>
                  </a:cubicBezTo>
                  <a:cubicBezTo>
                    <a:pt x="28" y="196"/>
                    <a:pt x="28" y="196"/>
                    <a:pt x="28" y="196"/>
                  </a:cubicBezTo>
                  <a:cubicBezTo>
                    <a:pt x="33" y="198"/>
                    <a:pt x="38" y="200"/>
                    <a:pt x="38" y="201"/>
                  </a:cubicBezTo>
                  <a:cubicBezTo>
                    <a:pt x="39" y="202"/>
                    <a:pt x="38" y="209"/>
                    <a:pt x="36" y="214"/>
                  </a:cubicBezTo>
                  <a:cubicBezTo>
                    <a:pt x="28" y="233"/>
                    <a:pt x="28" y="233"/>
                    <a:pt x="28" y="233"/>
                  </a:cubicBezTo>
                  <a:cubicBezTo>
                    <a:pt x="26" y="238"/>
                    <a:pt x="29" y="242"/>
                    <a:pt x="35" y="241"/>
                  </a:cubicBezTo>
                  <a:cubicBezTo>
                    <a:pt x="54" y="240"/>
                    <a:pt x="54" y="240"/>
                    <a:pt x="54" y="240"/>
                  </a:cubicBezTo>
                  <a:cubicBezTo>
                    <a:pt x="60" y="240"/>
                    <a:pt x="65" y="240"/>
                    <a:pt x="66" y="241"/>
                  </a:cubicBezTo>
                  <a:cubicBezTo>
                    <a:pt x="67" y="242"/>
                    <a:pt x="69" y="248"/>
                    <a:pt x="69" y="254"/>
                  </a:cubicBezTo>
                  <a:cubicBezTo>
                    <a:pt x="69" y="274"/>
                    <a:pt x="69" y="274"/>
                    <a:pt x="69" y="274"/>
                  </a:cubicBezTo>
                  <a:cubicBezTo>
                    <a:pt x="69" y="279"/>
                    <a:pt x="73" y="282"/>
                    <a:pt x="78" y="279"/>
                  </a:cubicBezTo>
                  <a:cubicBezTo>
                    <a:pt x="96" y="270"/>
                    <a:pt x="96" y="270"/>
                    <a:pt x="96" y="270"/>
                  </a:cubicBezTo>
                  <a:cubicBezTo>
                    <a:pt x="101" y="268"/>
                    <a:pt x="106" y="266"/>
                    <a:pt x="107" y="266"/>
                  </a:cubicBezTo>
                  <a:cubicBezTo>
                    <a:pt x="108" y="267"/>
                    <a:pt x="113" y="272"/>
                    <a:pt x="115" y="277"/>
                  </a:cubicBezTo>
                  <a:cubicBezTo>
                    <a:pt x="123" y="296"/>
                    <a:pt x="123" y="296"/>
                    <a:pt x="123" y="296"/>
                  </a:cubicBezTo>
                  <a:cubicBezTo>
                    <a:pt x="125" y="301"/>
                    <a:pt x="129" y="302"/>
                    <a:pt x="133" y="297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50" y="278"/>
                    <a:pt x="154" y="275"/>
                    <a:pt x="155" y="275"/>
                  </a:cubicBezTo>
                  <a:cubicBezTo>
                    <a:pt x="156" y="275"/>
                    <a:pt x="162" y="278"/>
                    <a:pt x="166" y="282"/>
                  </a:cubicBezTo>
                  <a:cubicBezTo>
                    <a:pt x="180" y="296"/>
                    <a:pt x="180" y="296"/>
                    <a:pt x="180" y="296"/>
                  </a:cubicBezTo>
                  <a:cubicBezTo>
                    <a:pt x="184" y="300"/>
                    <a:pt x="189" y="298"/>
                    <a:pt x="191" y="293"/>
                  </a:cubicBezTo>
                  <a:cubicBezTo>
                    <a:pt x="197" y="274"/>
                    <a:pt x="197" y="274"/>
                    <a:pt x="197" y="274"/>
                  </a:cubicBezTo>
                  <a:cubicBezTo>
                    <a:pt x="199" y="269"/>
                    <a:pt x="201" y="264"/>
                    <a:pt x="202" y="264"/>
                  </a:cubicBezTo>
                  <a:cubicBezTo>
                    <a:pt x="203" y="263"/>
                    <a:pt x="210" y="264"/>
                    <a:pt x="215" y="266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39" y="276"/>
                    <a:pt x="243" y="273"/>
                    <a:pt x="242" y="267"/>
                  </a:cubicBezTo>
                  <a:cubicBezTo>
                    <a:pt x="241" y="248"/>
                    <a:pt x="241" y="248"/>
                    <a:pt x="241" y="248"/>
                  </a:cubicBezTo>
                  <a:cubicBezTo>
                    <a:pt x="240" y="242"/>
                    <a:pt x="241" y="237"/>
                    <a:pt x="241" y="236"/>
                  </a:cubicBezTo>
                  <a:cubicBezTo>
                    <a:pt x="242" y="235"/>
                    <a:pt x="249" y="233"/>
                    <a:pt x="255" y="233"/>
                  </a:cubicBezTo>
                  <a:cubicBezTo>
                    <a:pt x="274" y="233"/>
                    <a:pt x="274" y="233"/>
                    <a:pt x="274" y="233"/>
                  </a:cubicBezTo>
                  <a:cubicBezTo>
                    <a:pt x="280" y="233"/>
                    <a:pt x="283" y="229"/>
                    <a:pt x="280" y="224"/>
                  </a:cubicBezTo>
                  <a:cubicBezTo>
                    <a:pt x="271" y="206"/>
                    <a:pt x="271" y="206"/>
                    <a:pt x="271" y="206"/>
                  </a:cubicBezTo>
                  <a:cubicBezTo>
                    <a:pt x="268" y="201"/>
                    <a:pt x="267" y="196"/>
                    <a:pt x="267" y="195"/>
                  </a:cubicBezTo>
                  <a:cubicBezTo>
                    <a:pt x="268" y="194"/>
                    <a:pt x="273" y="189"/>
                    <a:pt x="278" y="187"/>
                  </a:cubicBezTo>
                  <a:cubicBezTo>
                    <a:pt x="296" y="180"/>
                    <a:pt x="296" y="180"/>
                    <a:pt x="296" y="180"/>
                  </a:cubicBezTo>
                  <a:cubicBezTo>
                    <a:pt x="302" y="177"/>
                    <a:pt x="302" y="173"/>
                    <a:pt x="298" y="169"/>
                  </a:cubicBezTo>
                  <a:cubicBezTo>
                    <a:pt x="283" y="156"/>
                    <a:pt x="283" y="156"/>
                    <a:pt x="283" y="156"/>
                  </a:cubicBezTo>
                  <a:cubicBezTo>
                    <a:pt x="279" y="152"/>
                    <a:pt x="275" y="148"/>
                    <a:pt x="275" y="147"/>
                  </a:cubicBezTo>
                  <a:cubicBezTo>
                    <a:pt x="275" y="146"/>
                    <a:pt x="278" y="140"/>
                    <a:pt x="282" y="136"/>
                  </a:cubicBezTo>
                  <a:cubicBezTo>
                    <a:pt x="296" y="122"/>
                    <a:pt x="296" y="122"/>
                    <a:pt x="296" y="122"/>
                  </a:cubicBezTo>
                  <a:cubicBezTo>
                    <a:pt x="300" y="118"/>
                    <a:pt x="299" y="113"/>
                    <a:pt x="294" y="111"/>
                  </a:cubicBezTo>
                  <a:lnTo>
                    <a:pt x="275" y="105"/>
                  </a:lnTo>
                  <a:close/>
                  <a:moveTo>
                    <a:pt x="147" y="176"/>
                  </a:moveTo>
                  <a:cubicBezTo>
                    <a:pt x="133" y="174"/>
                    <a:pt x="123" y="161"/>
                    <a:pt x="126" y="147"/>
                  </a:cubicBezTo>
                  <a:cubicBezTo>
                    <a:pt x="128" y="132"/>
                    <a:pt x="141" y="123"/>
                    <a:pt x="156" y="125"/>
                  </a:cubicBezTo>
                  <a:cubicBezTo>
                    <a:pt x="170" y="127"/>
                    <a:pt x="179" y="141"/>
                    <a:pt x="177" y="155"/>
                  </a:cubicBezTo>
                  <a:cubicBezTo>
                    <a:pt x="175" y="169"/>
                    <a:pt x="161" y="179"/>
                    <a:pt x="147" y="176"/>
                  </a:cubicBezTo>
                  <a:close/>
                </a:path>
              </a:pathLst>
            </a:custGeom>
            <a:solidFill>
              <a:srgbClr val="B4009E">
                <a:lumMod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306" name="Freeform 34"/>
            <p:cNvSpPr>
              <a:spLocks noEditPoints="1"/>
            </p:cNvSpPr>
            <p:nvPr/>
          </p:nvSpPr>
          <p:spPr bwMode="auto">
            <a:xfrm>
              <a:off x="7815521" y="5520404"/>
              <a:ext cx="794151" cy="795395"/>
            </a:xfrm>
            <a:custGeom>
              <a:avLst/>
              <a:gdLst>
                <a:gd name="T0" fmla="*/ 434 w 441"/>
                <a:gd name="T1" fmla="*/ 201 h 441"/>
                <a:gd name="T2" fmla="*/ 425 w 441"/>
                <a:gd name="T3" fmla="*/ 156 h 441"/>
                <a:gd name="T4" fmla="*/ 410 w 441"/>
                <a:gd name="T5" fmla="*/ 120 h 441"/>
                <a:gd name="T6" fmla="*/ 385 w 441"/>
                <a:gd name="T7" fmla="*/ 84 h 441"/>
                <a:gd name="T8" fmla="*/ 357 w 441"/>
                <a:gd name="T9" fmla="*/ 56 h 441"/>
                <a:gd name="T10" fmla="*/ 320 w 441"/>
                <a:gd name="T11" fmla="*/ 30 h 441"/>
                <a:gd name="T12" fmla="*/ 283 w 441"/>
                <a:gd name="T13" fmla="*/ 16 h 441"/>
                <a:gd name="T14" fmla="*/ 240 w 441"/>
                <a:gd name="T15" fmla="*/ 7 h 441"/>
                <a:gd name="T16" fmla="*/ 201 w 441"/>
                <a:gd name="T17" fmla="*/ 7 h 441"/>
                <a:gd name="T18" fmla="*/ 156 w 441"/>
                <a:gd name="T19" fmla="*/ 16 h 441"/>
                <a:gd name="T20" fmla="*/ 120 w 441"/>
                <a:gd name="T21" fmla="*/ 31 h 441"/>
                <a:gd name="T22" fmla="*/ 84 w 441"/>
                <a:gd name="T23" fmla="*/ 56 h 441"/>
                <a:gd name="T24" fmla="*/ 56 w 441"/>
                <a:gd name="T25" fmla="*/ 84 h 441"/>
                <a:gd name="T26" fmla="*/ 31 w 441"/>
                <a:gd name="T27" fmla="*/ 122 h 441"/>
                <a:gd name="T28" fmla="*/ 16 w 441"/>
                <a:gd name="T29" fmla="*/ 158 h 441"/>
                <a:gd name="T30" fmla="*/ 7 w 441"/>
                <a:gd name="T31" fmla="*/ 201 h 441"/>
                <a:gd name="T32" fmla="*/ 7 w 441"/>
                <a:gd name="T33" fmla="*/ 240 h 441"/>
                <a:gd name="T34" fmla="*/ 16 w 441"/>
                <a:gd name="T35" fmla="*/ 285 h 441"/>
                <a:gd name="T36" fmla="*/ 32 w 441"/>
                <a:gd name="T37" fmla="*/ 321 h 441"/>
                <a:gd name="T38" fmla="*/ 56 w 441"/>
                <a:gd name="T39" fmla="*/ 357 h 441"/>
                <a:gd name="T40" fmla="*/ 84 w 441"/>
                <a:gd name="T41" fmla="*/ 385 h 441"/>
                <a:gd name="T42" fmla="*/ 122 w 441"/>
                <a:gd name="T43" fmla="*/ 411 h 441"/>
                <a:gd name="T44" fmla="*/ 158 w 441"/>
                <a:gd name="T45" fmla="*/ 425 h 441"/>
                <a:gd name="T46" fmla="*/ 201 w 441"/>
                <a:gd name="T47" fmla="*/ 434 h 441"/>
                <a:gd name="T48" fmla="*/ 240 w 441"/>
                <a:gd name="T49" fmla="*/ 434 h 441"/>
                <a:gd name="T50" fmla="*/ 285 w 441"/>
                <a:gd name="T51" fmla="*/ 425 h 441"/>
                <a:gd name="T52" fmla="*/ 321 w 441"/>
                <a:gd name="T53" fmla="*/ 410 h 441"/>
                <a:gd name="T54" fmla="*/ 357 w 441"/>
                <a:gd name="T55" fmla="*/ 385 h 441"/>
                <a:gd name="T56" fmla="*/ 385 w 441"/>
                <a:gd name="T57" fmla="*/ 357 h 441"/>
                <a:gd name="T58" fmla="*/ 411 w 441"/>
                <a:gd name="T59" fmla="*/ 319 h 441"/>
                <a:gd name="T60" fmla="*/ 426 w 441"/>
                <a:gd name="T61" fmla="*/ 283 h 441"/>
                <a:gd name="T62" fmla="*/ 434 w 441"/>
                <a:gd name="T63" fmla="*/ 240 h 441"/>
                <a:gd name="T64" fmla="*/ 356 w 441"/>
                <a:gd name="T65" fmla="*/ 256 h 441"/>
                <a:gd name="T66" fmla="*/ 284 w 441"/>
                <a:gd name="T67" fmla="*/ 213 h 441"/>
                <a:gd name="T68" fmla="*/ 361 w 441"/>
                <a:gd name="T69" fmla="*/ 220 h 441"/>
                <a:gd name="T70" fmla="*/ 275 w 441"/>
                <a:gd name="T71" fmla="*/ 335 h 441"/>
                <a:gd name="T72" fmla="*/ 335 w 441"/>
                <a:gd name="T73" fmla="*/ 276 h 441"/>
                <a:gd name="T74" fmla="*/ 178 w 441"/>
                <a:gd name="T75" fmla="*/ 341 h 441"/>
                <a:gd name="T76" fmla="*/ 263 w 441"/>
                <a:gd name="T77" fmla="*/ 341 h 441"/>
                <a:gd name="T78" fmla="*/ 185 w 441"/>
                <a:gd name="T79" fmla="*/ 358 h 441"/>
                <a:gd name="T80" fmla="*/ 186 w 441"/>
                <a:gd name="T81" fmla="*/ 220 h 441"/>
                <a:gd name="T82" fmla="*/ 221 w 441"/>
                <a:gd name="T83" fmla="*/ 255 h 441"/>
                <a:gd name="T84" fmla="*/ 106 w 441"/>
                <a:gd name="T85" fmla="*/ 277 h 441"/>
                <a:gd name="T86" fmla="*/ 165 w 441"/>
                <a:gd name="T87" fmla="*/ 337 h 441"/>
                <a:gd name="T88" fmla="*/ 100 w 441"/>
                <a:gd name="T89" fmla="*/ 180 h 441"/>
                <a:gd name="T90" fmla="*/ 100 w 441"/>
                <a:gd name="T91" fmla="*/ 264 h 441"/>
                <a:gd name="T92" fmla="*/ 83 w 441"/>
                <a:gd name="T93" fmla="*/ 187 h 441"/>
                <a:gd name="T94" fmla="*/ 148 w 441"/>
                <a:gd name="T95" fmla="*/ 100 h 441"/>
                <a:gd name="T96" fmla="*/ 168 w 441"/>
                <a:gd name="T97" fmla="*/ 182 h 441"/>
                <a:gd name="T98" fmla="*/ 119 w 441"/>
                <a:gd name="T99" fmla="*/ 122 h 441"/>
                <a:gd name="T100" fmla="*/ 211 w 441"/>
                <a:gd name="T101" fmla="*/ 157 h 441"/>
                <a:gd name="T102" fmla="*/ 219 w 441"/>
                <a:gd name="T103" fmla="*/ 80 h 441"/>
                <a:gd name="T104" fmla="*/ 319 w 441"/>
                <a:gd name="T105" fmla="*/ 121 h 441"/>
                <a:gd name="T106" fmla="*/ 270 w 441"/>
                <a:gd name="T107" fmla="*/ 181 h 441"/>
                <a:gd name="T108" fmla="*/ 290 w 441"/>
                <a:gd name="T109" fmla="*/ 99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1" h="441">
                  <a:moveTo>
                    <a:pt x="441" y="232"/>
                  </a:moveTo>
                  <a:cubicBezTo>
                    <a:pt x="441" y="209"/>
                    <a:pt x="441" y="209"/>
                    <a:pt x="441" y="209"/>
                  </a:cubicBezTo>
                  <a:cubicBezTo>
                    <a:pt x="441" y="205"/>
                    <a:pt x="438" y="201"/>
                    <a:pt x="434" y="201"/>
                  </a:cubicBezTo>
                  <a:cubicBezTo>
                    <a:pt x="401" y="196"/>
                    <a:pt x="401" y="196"/>
                    <a:pt x="401" y="196"/>
                  </a:cubicBezTo>
                  <a:cubicBezTo>
                    <a:pt x="400" y="188"/>
                    <a:pt x="398" y="181"/>
                    <a:pt x="396" y="173"/>
                  </a:cubicBezTo>
                  <a:cubicBezTo>
                    <a:pt x="425" y="156"/>
                    <a:pt x="425" y="156"/>
                    <a:pt x="425" y="156"/>
                  </a:cubicBezTo>
                  <a:cubicBezTo>
                    <a:pt x="428" y="154"/>
                    <a:pt x="430" y="149"/>
                    <a:pt x="428" y="145"/>
                  </a:cubicBezTo>
                  <a:cubicBezTo>
                    <a:pt x="420" y="125"/>
                    <a:pt x="420" y="125"/>
                    <a:pt x="420" y="125"/>
                  </a:cubicBezTo>
                  <a:cubicBezTo>
                    <a:pt x="418" y="121"/>
                    <a:pt x="414" y="119"/>
                    <a:pt x="410" y="120"/>
                  </a:cubicBezTo>
                  <a:cubicBezTo>
                    <a:pt x="377" y="128"/>
                    <a:pt x="377" y="128"/>
                    <a:pt x="377" y="128"/>
                  </a:cubicBezTo>
                  <a:cubicBezTo>
                    <a:pt x="374" y="122"/>
                    <a:pt x="370" y="116"/>
                    <a:pt x="365" y="110"/>
                  </a:cubicBezTo>
                  <a:cubicBezTo>
                    <a:pt x="385" y="84"/>
                    <a:pt x="385" y="84"/>
                    <a:pt x="385" y="84"/>
                  </a:cubicBezTo>
                  <a:cubicBezTo>
                    <a:pt x="388" y="80"/>
                    <a:pt x="387" y="75"/>
                    <a:pt x="385" y="72"/>
                  </a:cubicBezTo>
                  <a:cubicBezTo>
                    <a:pt x="369" y="56"/>
                    <a:pt x="369" y="56"/>
                    <a:pt x="369" y="56"/>
                  </a:cubicBezTo>
                  <a:cubicBezTo>
                    <a:pt x="366" y="54"/>
                    <a:pt x="361" y="53"/>
                    <a:pt x="357" y="56"/>
                  </a:cubicBezTo>
                  <a:cubicBezTo>
                    <a:pt x="331" y="76"/>
                    <a:pt x="331" y="76"/>
                    <a:pt x="331" y="76"/>
                  </a:cubicBezTo>
                  <a:cubicBezTo>
                    <a:pt x="325" y="71"/>
                    <a:pt x="318" y="67"/>
                    <a:pt x="311" y="63"/>
                  </a:cubicBezTo>
                  <a:cubicBezTo>
                    <a:pt x="320" y="30"/>
                    <a:pt x="320" y="30"/>
                    <a:pt x="320" y="30"/>
                  </a:cubicBezTo>
                  <a:cubicBezTo>
                    <a:pt x="321" y="26"/>
                    <a:pt x="318" y="22"/>
                    <a:pt x="314" y="20"/>
                  </a:cubicBezTo>
                  <a:cubicBezTo>
                    <a:pt x="294" y="12"/>
                    <a:pt x="294" y="12"/>
                    <a:pt x="294" y="12"/>
                  </a:cubicBezTo>
                  <a:cubicBezTo>
                    <a:pt x="290" y="10"/>
                    <a:pt x="285" y="12"/>
                    <a:pt x="283" y="16"/>
                  </a:cubicBezTo>
                  <a:cubicBezTo>
                    <a:pt x="266" y="44"/>
                    <a:pt x="266" y="44"/>
                    <a:pt x="266" y="44"/>
                  </a:cubicBezTo>
                  <a:cubicBezTo>
                    <a:pt x="259" y="43"/>
                    <a:pt x="252" y="41"/>
                    <a:pt x="245" y="40"/>
                  </a:cubicBezTo>
                  <a:cubicBezTo>
                    <a:pt x="240" y="7"/>
                    <a:pt x="240" y="7"/>
                    <a:pt x="240" y="7"/>
                  </a:cubicBezTo>
                  <a:cubicBezTo>
                    <a:pt x="240" y="3"/>
                    <a:pt x="236" y="0"/>
                    <a:pt x="232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05" y="0"/>
                    <a:pt x="201" y="3"/>
                    <a:pt x="201" y="7"/>
                  </a:cubicBezTo>
                  <a:cubicBezTo>
                    <a:pt x="196" y="40"/>
                    <a:pt x="196" y="40"/>
                    <a:pt x="196" y="40"/>
                  </a:cubicBezTo>
                  <a:cubicBezTo>
                    <a:pt x="188" y="41"/>
                    <a:pt x="181" y="43"/>
                    <a:pt x="173" y="45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4" y="13"/>
                    <a:pt x="149" y="11"/>
                    <a:pt x="145" y="13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1" y="23"/>
                    <a:pt x="119" y="27"/>
                    <a:pt x="120" y="31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2" y="67"/>
                    <a:pt x="116" y="71"/>
                    <a:pt x="111" y="7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0" y="53"/>
                    <a:pt x="75" y="54"/>
                    <a:pt x="72" y="56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4" y="75"/>
                    <a:pt x="53" y="80"/>
                    <a:pt x="56" y="84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71" y="117"/>
                    <a:pt x="67" y="123"/>
                    <a:pt x="63" y="130"/>
                  </a:cubicBezTo>
                  <a:cubicBezTo>
                    <a:pt x="31" y="122"/>
                    <a:pt x="31" y="122"/>
                    <a:pt x="31" y="122"/>
                  </a:cubicBezTo>
                  <a:cubicBezTo>
                    <a:pt x="27" y="121"/>
                    <a:pt x="22" y="123"/>
                    <a:pt x="20" y="127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0" y="151"/>
                    <a:pt x="12" y="156"/>
                    <a:pt x="16" y="158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3" y="182"/>
                    <a:pt x="41" y="189"/>
                    <a:pt x="40" y="196"/>
                  </a:cubicBezTo>
                  <a:cubicBezTo>
                    <a:pt x="7" y="201"/>
                    <a:pt x="7" y="201"/>
                    <a:pt x="7" y="201"/>
                  </a:cubicBezTo>
                  <a:cubicBezTo>
                    <a:pt x="3" y="201"/>
                    <a:pt x="0" y="205"/>
                    <a:pt x="0" y="209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6"/>
                    <a:pt x="3" y="240"/>
                    <a:pt x="7" y="240"/>
                  </a:cubicBezTo>
                  <a:cubicBezTo>
                    <a:pt x="40" y="245"/>
                    <a:pt x="40" y="245"/>
                    <a:pt x="40" y="245"/>
                  </a:cubicBezTo>
                  <a:cubicBezTo>
                    <a:pt x="42" y="253"/>
                    <a:pt x="43" y="260"/>
                    <a:pt x="45" y="268"/>
                  </a:cubicBezTo>
                  <a:cubicBezTo>
                    <a:pt x="16" y="285"/>
                    <a:pt x="16" y="285"/>
                    <a:pt x="16" y="285"/>
                  </a:cubicBezTo>
                  <a:cubicBezTo>
                    <a:pt x="13" y="287"/>
                    <a:pt x="11" y="292"/>
                    <a:pt x="13" y="296"/>
                  </a:cubicBezTo>
                  <a:cubicBezTo>
                    <a:pt x="21" y="316"/>
                    <a:pt x="21" y="316"/>
                    <a:pt x="21" y="316"/>
                  </a:cubicBezTo>
                  <a:cubicBezTo>
                    <a:pt x="23" y="320"/>
                    <a:pt x="28" y="322"/>
                    <a:pt x="32" y="321"/>
                  </a:cubicBezTo>
                  <a:cubicBezTo>
                    <a:pt x="64" y="313"/>
                    <a:pt x="64" y="313"/>
                    <a:pt x="64" y="313"/>
                  </a:cubicBezTo>
                  <a:cubicBezTo>
                    <a:pt x="68" y="319"/>
                    <a:pt x="72" y="325"/>
                    <a:pt x="76" y="331"/>
                  </a:cubicBezTo>
                  <a:cubicBezTo>
                    <a:pt x="56" y="357"/>
                    <a:pt x="56" y="357"/>
                    <a:pt x="56" y="357"/>
                  </a:cubicBezTo>
                  <a:cubicBezTo>
                    <a:pt x="53" y="361"/>
                    <a:pt x="54" y="366"/>
                    <a:pt x="57" y="369"/>
                  </a:cubicBezTo>
                  <a:cubicBezTo>
                    <a:pt x="72" y="384"/>
                    <a:pt x="72" y="384"/>
                    <a:pt x="72" y="384"/>
                  </a:cubicBezTo>
                  <a:cubicBezTo>
                    <a:pt x="75" y="387"/>
                    <a:pt x="80" y="388"/>
                    <a:pt x="84" y="385"/>
                  </a:cubicBezTo>
                  <a:cubicBezTo>
                    <a:pt x="111" y="365"/>
                    <a:pt x="111" y="365"/>
                    <a:pt x="111" y="365"/>
                  </a:cubicBezTo>
                  <a:cubicBezTo>
                    <a:pt x="117" y="370"/>
                    <a:pt x="123" y="374"/>
                    <a:pt x="130" y="378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21" y="415"/>
                    <a:pt x="123" y="419"/>
                    <a:pt x="127" y="421"/>
                  </a:cubicBezTo>
                  <a:cubicBezTo>
                    <a:pt x="147" y="429"/>
                    <a:pt x="147" y="429"/>
                    <a:pt x="147" y="429"/>
                  </a:cubicBezTo>
                  <a:cubicBezTo>
                    <a:pt x="151" y="431"/>
                    <a:pt x="156" y="429"/>
                    <a:pt x="158" y="425"/>
                  </a:cubicBezTo>
                  <a:cubicBezTo>
                    <a:pt x="175" y="397"/>
                    <a:pt x="175" y="397"/>
                    <a:pt x="175" y="397"/>
                  </a:cubicBezTo>
                  <a:cubicBezTo>
                    <a:pt x="182" y="398"/>
                    <a:pt x="189" y="400"/>
                    <a:pt x="196" y="401"/>
                  </a:cubicBezTo>
                  <a:cubicBezTo>
                    <a:pt x="201" y="434"/>
                    <a:pt x="201" y="434"/>
                    <a:pt x="201" y="434"/>
                  </a:cubicBezTo>
                  <a:cubicBezTo>
                    <a:pt x="201" y="438"/>
                    <a:pt x="205" y="441"/>
                    <a:pt x="209" y="441"/>
                  </a:cubicBezTo>
                  <a:cubicBezTo>
                    <a:pt x="232" y="441"/>
                    <a:pt x="232" y="441"/>
                    <a:pt x="232" y="441"/>
                  </a:cubicBezTo>
                  <a:cubicBezTo>
                    <a:pt x="236" y="441"/>
                    <a:pt x="240" y="438"/>
                    <a:pt x="240" y="434"/>
                  </a:cubicBezTo>
                  <a:cubicBezTo>
                    <a:pt x="245" y="401"/>
                    <a:pt x="245" y="401"/>
                    <a:pt x="245" y="401"/>
                  </a:cubicBezTo>
                  <a:cubicBezTo>
                    <a:pt x="253" y="400"/>
                    <a:pt x="260" y="398"/>
                    <a:pt x="268" y="396"/>
                  </a:cubicBezTo>
                  <a:cubicBezTo>
                    <a:pt x="285" y="425"/>
                    <a:pt x="285" y="425"/>
                    <a:pt x="285" y="425"/>
                  </a:cubicBezTo>
                  <a:cubicBezTo>
                    <a:pt x="287" y="428"/>
                    <a:pt x="292" y="430"/>
                    <a:pt x="296" y="428"/>
                  </a:cubicBezTo>
                  <a:cubicBezTo>
                    <a:pt x="316" y="420"/>
                    <a:pt x="316" y="420"/>
                    <a:pt x="316" y="420"/>
                  </a:cubicBezTo>
                  <a:cubicBezTo>
                    <a:pt x="320" y="418"/>
                    <a:pt x="322" y="414"/>
                    <a:pt x="321" y="410"/>
                  </a:cubicBezTo>
                  <a:cubicBezTo>
                    <a:pt x="313" y="377"/>
                    <a:pt x="313" y="377"/>
                    <a:pt x="313" y="377"/>
                  </a:cubicBezTo>
                  <a:cubicBezTo>
                    <a:pt x="319" y="373"/>
                    <a:pt x="325" y="369"/>
                    <a:pt x="331" y="365"/>
                  </a:cubicBezTo>
                  <a:cubicBezTo>
                    <a:pt x="357" y="385"/>
                    <a:pt x="357" y="385"/>
                    <a:pt x="357" y="385"/>
                  </a:cubicBezTo>
                  <a:cubicBezTo>
                    <a:pt x="361" y="388"/>
                    <a:pt x="366" y="387"/>
                    <a:pt x="369" y="384"/>
                  </a:cubicBezTo>
                  <a:cubicBezTo>
                    <a:pt x="385" y="369"/>
                    <a:pt x="385" y="369"/>
                    <a:pt x="385" y="369"/>
                  </a:cubicBezTo>
                  <a:cubicBezTo>
                    <a:pt x="387" y="366"/>
                    <a:pt x="388" y="361"/>
                    <a:pt x="385" y="357"/>
                  </a:cubicBezTo>
                  <a:cubicBezTo>
                    <a:pt x="365" y="331"/>
                    <a:pt x="365" y="331"/>
                    <a:pt x="365" y="331"/>
                  </a:cubicBezTo>
                  <a:cubicBezTo>
                    <a:pt x="370" y="324"/>
                    <a:pt x="374" y="318"/>
                    <a:pt x="378" y="311"/>
                  </a:cubicBezTo>
                  <a:cubicBezTo>
                    <a:pt x="411" y="319"/>
                    <a:pt x="411" y="319"/>
                    <a:pt x="411" y="319"/>
                  </a:cubicBezTo>
                  <a:cubicBezTo>
                    <a:pt x="415" y="320"/>
                    <a:pt x="419" y="318"/>
                    <a:pt x="421" y="314"/>
                  </a:cubicBezTo>
                  <a:cubicBezTo>
                    <a:pt x="429" y="294"/>
                    <a:pt x="429" y="294"/>
                    <a:pt x="429" y="294"/>
                  </a:cubicBezTo>
                  <a:cubicBezTo>
                    <a:pt x="431" y="290"/>
                    <a:pt x="429" y="285"/>
                    <a:pt x="426" y="283"/>
                  </a:cubicBezTo>
                  <a:cubicBezTo>
                    <a:pt x="397" y="266"/>
                    <a:pt x="397" y="266"/>
                    <a:pt x="397" y="266"/>
                  </a:cubicBezTo>
                  <a:cubicBezTo>
                    <a:pt x="398" y="259"/>
                    <a:pt x="400" y="252"/>
                    <a:pt x="401" y="245"/>
                  </a:cubicBezTo>
                  <a:cubicBezTo>
                    <a:pt x="434" y="240"/>
                    <a:pt x="434" y="240"/>
                    <a:pt x="434" y="240"/>
                  </a:cubicBezTo>
                  <a:cubicBezTo>
                    <a:pt x="438" y="240"/>
                    <a:pt x="441" y="236"/>
                    <a:pt x="441" y="232"/>
                  </a:cubicBezTo>
                  <a:close/>
                  <a:moveTo>
                    <a:pt x="361" y="220"/>
                  </a:moveTo>
                  <a:cubicBezTo>
                    <a:pt x="361" y="238"/>
                    <a:pt x="356" y="256"/>
                    <a:pt x="356" y="256"/>
                  </a:cubicBezTo>
                  <a:cubicBezTo>
                    <a:pt x="354" y="264"/>
                    <a:pt x="346" y="267"/>
                    <a:pt x="339" y="263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77" y="224"/>
                    <a:pt x="277" y="217"/>
                    <a:pt x="284" y="213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6" y="174"/>
                    <a:pt x="354" y="177"/>
                    <a:pt x="356" y="185"/>
                  </a:cubicBezTo>
                  <a:cubicBezTo>
                    <a:pt x="356" y="185"/>
                    <a:pt x="361" y="203"/>
                    <a:pt x="361" y="220"/>
                  </a:cubicBezTo>
                  <a:close/>
                  <a:moveTo>
                    <a:pt x="321" y="321"/>
                  </a:moveTo>
                  <a:cubicBezTo>
                    <a:pt x="308" y="333"/>
                    <a:pt x="292" y="343"/>
                    <a:pt x="292" y="343"/>
                  </a:cubicBezTo>
                  <a:cubicBezTo>
                    <a:pt x="285" y="347"/>
                    <a:pt x="277" y="343"/>
                    <a:pt x="275" y="335"/>
                  </a:cubicBezTo>
                  <a:cubicBezTo>
                    <a:pt x="260" y="272"/>
                    <a:pt x="260" y="272"/>
                    <a:pt x="260" y="272"/>
                  </a:cubicBezTo>
                  <a:cubicBezTo>
                    <a:pt x="258" y="264"/>
                    <a:pt x="263" y="259"/>
                    <a:pt x="271" y="260"/>
                  </a:cubicBezTo>
                  <a:cubicBezTo>
                    <a:pt x="335" y="276"/>
                    <a:pt x="335" y="276"/>
                    <a:pt x="335" y="276"/>
                  </a:cubicBezTo>
                  <a:cubicBezTo>
                    <a:pt x="343" y="278"/>
                    <a:pt x="346" y="285"/>
                    <a:pt x="342" y="292"/>
                  </a:cubicBezTo>
                  <a:cubicBezTo>
                    <a:pt x="342" y="292"/>
                    <a:pt x="333" y="309"/>
                    <a:pt x="321" y="321"/>
                  </a:cubicBezTo>
                  <a:close/>
                  <a:moveTo>
                    <a:pt x="178" y="341"/>
                  </a:moveTo>
                  <a:cubicBezTo>
                    <a:pt x="213" y="285"/>
                    <a:pt x="213" y="285"/>
                    <a:pt x="213" y="285"/>
                  </a:cubicBezTo>
                  <a:cubicBezTo>
                    <a:pt x="217" y="278"/>
                    <a:pt x="224" y="278"/>
                    <a:pt x="228" y="285"/>
                  </a:cubicBezTo>
                  <a:cubicBezTo>
                    <a:pt x="263" y="341"/>
                    <a:pt x="263" y="341"/>
                    <a:pt x="263" y="341"/>
                  </a:cubicBezTo>
                  <a:cubicBezTo>
                    <a:pt x="267" y="348"/>
                    <a:pt x="264" y="356"/>
                    <a:pt x="256" y="358"/>
                  </a:cubicBezTo>
                  <a:cubicBezTo>
                    <a:pt x="256" y="358"/>
                    <a:pt x="238" y="363"/>
                    <a:pt x="221" y="363"/>
                  </a:cubicBezTo>
                  <a:cubicBezTo>
                    <a:pt x="203" y="363"/>
                    <a:pt x="185" y="358"/>
                    <a:pt x="185" y="358"/>
                  </a:cubicBezTo>
                  <a:cubicBezTo>
                    <a:pt x="177" y="356"/>
                    <a:pt x="174" y="348"/>
                    <a:pt x="178" y="341"/>
                  </a:cubicBezTo>
                  <a:close/>
                  <a:moveTo>
                    <a:pt x="221" y="255"/>
                  </a:moveTo>
                  <a:cubicBezTo>
                    <a:pt x="202" y="255"/>
                    <a:pt x="186" y="240"/>
                    <a:pt x="186" y="220"/>
                  </a:cubicBezTo>
                  <a:cubicBezTo>
                    <a:pt x="186" y="201"/>
                    <a:pt x="202" y="186"/>
                    <a:pt x="221" y="186"/>
                  </a:cubicBezTo>
                  <a:cubicBezTo>
                    <a:pt x="240" y="186"/>
                    <a:pt x="255" y="201"/>
                    <a:pt x="255" y="220"/>
                  </a:cubicBezTo>
                  <a:cubicBezTo>
                    <a:pt x="255" y="240"/>
                    <a:pt x="240" y="255"/>
                    <a:pt x="221" y="255"/>
                  </a:cubicBezTo>
                  <a:close/>
                  <a:moveTo>
                    <a:pt x="120" y="322"/>
                  </a:moveTo>
                  <a:cubicBezTo>
                    <a:pt x="108" y="310"/>
                    <a:pt x="99" y="294"/>
                    <a:pt x="99" y="294"/>
                  </a:cubicBezTo>
                  <a:cubicBezTo>
                    <a:pt x="95" y="286"/>
                    <a:pt x="98" y="279"/>
                    <a:pt x="106" y="277"/>
                  </a:cubicBezTo>
                  <a:cubicBezTo>
                    <a:pt x="170" y="262"/>
                    <a:pt x="170" y="262"/>
                    <a:pt x="170" y="262"/>
                  </a:cubicBezTo>
                  <a:cubicBezTo>
                    <a:pt x="178" y="260"/>
                    <a:pt x="182" y="265"/>
                    <a:pt x="181" y="273"/>
                  </a:cubicBezTo>
                  <a:cubicBezTo>
                    <a:pt x="165" y="337"/>
                    <a:pt x="165" y="337"/>
                    <a:pt x="165" y="337"/>
                  </a:cubicBezTo>
                  <a:cubicBezTo>
                    <a:pt x="163" y="345"/>
                    <a:pt x="156" y="348"/>
                    <a:pt x="149" y="344"/>
                  </a:cubicBezTo>
                  <a:cubicBezTo>
                    <a:pt x="149" y="344"/>
                    <a:pt x="133" y="335"/>
                    <a:pt x="120" y="322"/>
                  </a:cubicBezTo>
                  <a:close/>
                  <a:moveTo>
                    <a:pt x="100" y="180"/>
                  </a:moveTo>
                  <a:cubicBezTo>
                    <a:pt x="156" y="215"/>
                    <a:pt x="156" y="215"/>
                    <a:pt x="156" y="215"/>
                  </a:cubicBezTo>
                  <a:cubicBezTo>
                    <a:pt x="163" y="219"/>
                    <a:pt x="163" y="226"/>
                    <a:pt x="156" y="230"/>
                  </a:cubicBezTo>
                  <a:cubicBezTo>
                    <a:pt x="100" y="264"/>
                    <a:pt x="100" y="264"/>
                    <a:pt x="100" y="264"/>
                  </a:cubicBezTo>
                  <a:cubicBezTo>
                    <a:pt x="93" y="269"/>
                    <a:pt x="85" y="266"/>
                    <a:pt x="83" y="258"/>
                  </a:cubicBezTo>
                  <a:cubicBezTo>
                    <a:pt x="83" y="258"/>
                    <a:pt x="78" y="240"/>
                    <a:pt x="78" y="222"/>
                  </a:cubicBezTo>
                  <a:cubicBezTo>
                    <a:pt x="78" y="205"/>
                    <a:pt x="83" y="187"/>
                    <a:pt x="83" y="187"/>
                  </a:cubicBezTo>
                  <a:cubicBezTo>
                    <a:pt x="85" y="179"/>
                    <a:pt x="93" y="176"/>
                    <a:pt x="100" y="180"/>
                  </a:cubicBezTo>
                  <a:close/>
                  <a:moveTo>
                    <a:pt x="119" y="122"/>
                  </a:moveTo>
                  <a:cubicBezTo>
                    <a:pt x="131" y="109"/>
                    <a:pt x="148" y="100"/>
                    <a:pt x="148" y="100"/>
                  </a:cubicBezTo>
                  <a:cubicBezTo>
                    <a:pt x="155" y="96"/>
                    <a:pt x="162" y="100"/>
                    <a:pt x="164" y="108"/>
                  </a:cubicBezTo>
                  <a:cubicBezTo>
                    <a:pt x="179" y="171"/>
                    <a:pt x="179" y="171"/>
                    <a:pt x="179" y="171"/>
                  </a:cubicBezTo>
                  <a:cubicBezTo>
                    <a:pt x="181" y="179"/>
                    <a:pt x="176" y="184"/>
                    <a:pt x="168" y="182"/>
                  </a:cubicBezTo>
                  <a:cubicBezTo>
                    <a:pt x="104" y="167"/>
                    <a:pt x="104" y="167"/>
                    <a:pt x="104" y="167"/>
                  </a:cubicBezTo>
                  <a:cubicBezTo>
                    <a:pt x="96" y="165"/>
                    <a:pt x="93" y="158"/>
                    <a:pt x="97" y="151"/>
                  </a:cubicBezTo>
                  <a:cubicBezTo>
                    <a:pt x="97" y="151"/>
                    <a:pt x="106" y="134"/>
                    <a:pt x="119" y="122"/>
                  </a:cubicBezTo>
                  <a:close/>
                  <a:moveTo>
                    <a:pt x="261" y="102"/>
                  </a:moveTo>
                  <a:cubicBezTo>
                    <a:pt x="227" y="157"/>
                    <a:pt x="227" y="157"/>
                    <a:pt x="227" y="157"/>
                  </a:cubicBezTo>
                  <a:cubicBezTo>
                    <a:pt x="222" y="164"/>
                    <a:pt x="215" y="164"/>
                    <a:pt x="211" y="157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2" y="95"/>
                    <a:pt x="175" y="87"/>
                    <a:pt x="183" y="85"/>
                  </a:cubicBezTo>
                  <a:cubicBezTo>
                    <a:pt x="183" y="85"/>
                    <a:pt x="201" y="80"/>
                    <a:pt x="219" y="80"/>
                  </a:cubicBezTo>
                  <a:cubicBezTo>
                    <a:pt x="236" y="80"/>
                    <a:pt x="254" y="85"/>
                    <a:pt x="254" y="85"/>
                  </a:cubicBezTo>
                  <a:cubicBezTo>
                    <a:pt x="262" y="87"/>
                    <a:pt x="265" y="95"/>
                    <a:pt x="261" y="102"/>
                  </a:cubicBezTo>
                  <a:close/>
                  <a:moveTo>
                    <a:pt x="319" y="121"/>
                  </a:moveTo>
                  <a:cubicBezTo>
                    <a:pt x="332" y="133"/>
                    <a:pt x="341" y="149"/>
                    <a:pt x="341" y="149"/>
                  </a:cubicBezTo>
                  <a:cubicBezTo>
                    <a:pt x="345" y="156"/>
                    <a:pt x="342" y="164"/>
                    <a:pt x="334" y="166"/>
                  </a:cubicBezTo>
                  <a:cubicBezTo>
                    <a:pt x="270" y="181"/>
                    <a:pt x="270" y="181"/>
                    <a:pt x="270" y="181"/>
                  </a:cubicBezTo>
                  <a:cubicBezTo>
                    <a:pt x="262" y="183"/>
                    <a:pt x="257" y="178"/>
                    <a:pt x="259" y="170"/>
                  </a:cubicBezTo>
                  <a:cubicBezTo>
                    <a:pt x="274" y="106"/>
                    <a:pt x="274" y="106"/>
                    <a:pt x="274" y="106"/>
                  </a:cubicBezTo>
                  <a:cubicBezTo>
                    <a:pt x="276" y="98"/>
                    <a:pt x="283" y="95"/>
                    <a:pt x="290" y="99"/>
                  </a:cubicBezTo>
                  <a:cubicBezTo>
                    <a:pt x="290" y="99"/>
                    <a:pt x="307" y="108"/>
                    <a:pt x="319" y="121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307" name="Freeform 32"/>
            <p:cNvSpPr>
              <a:spLocks noEditPoints="1"/>
            </p:cNvSpPr>
            <p:nvPr/>
          </p:nvSpPr>
          <p:spPr bwMode="auto">
            <a:xfrm>
              <a:off x="9141176" y="3572785"/>
              <a:ext cx="427628" cy="426294"/>
            </a:xfrm>
            <a:custGeom>
              <a:avLst/>
              <a:gdLst>
                <a:gd name="T0" fmla="*/ 50 w 221"/>
                <a:gd name="T1" fmla="*/ 202 h 220"/>
                <a:gd name="T2" fmla="*/ 73 w 221"/>
                <a:gd name="T3" fmla="*/ 186 h 220"/>
                <a:gd name="T4" fmla="*/ 86 w 221"/>
                <a:gd name="T5" fmla="*/ 183 h 220"/>
                <a:gd name="T6" fmla="*/ 95 w 221"/>
                <a:gd name="T7" fmla="*/ 185 h 220"/>
                <a:gd name="T8" fmla="*/ 109 w 221"/>
                <a:gd name="T9" fmla="*/ 214 h 220"/>
                <a:gd name="T10" fmla="*/ 133 w 221"/>
                <a:gd name="T11" fmla="*/ 218 h 220"/>
                <a:gd name="T12" fmla="*/ 138 w 221"/>
                <a:gd name="T13" fmla="*/ 191 h 220"/>
                <a:gd name="T14" fmla="*/ 145 w 221"/>
                <a:gd name="T15" fmla="*/ 179 h 220"/>
                <a:gd name="T16" fmla="*/ 153 w 221"/>
                <a:gd name="T17" fmla="*/ 174 h 220"/>
                <a:gd name="T18" fmla="*/ 183 w 221"/>
                <a:gd name="T19" fmla="*/ 184 h 220"/>
                <a:gd name="T20" fmla="*/ 202 w 221"/>
                <a:gd name="T21" fmla="*/ 170 h 220"/>
                <a:gd name="T22" fmla="*/ 187 w 221"/>
                <a:gd name="T23" fmla="*/ 148 h 220"/>
                <a:gd name="T24" fmla="*/ 183 w 221"/>
                <a:gd name="T25" fmla="*/ 134 h 220"/>
                <a:gd name="T26" fmla="*/ 186 w 221"/>
                <a:gd name="T27" fmla="*/ 125 h 220"/>
                <a:gd name="T28" fmla="*/ 215 w 221"/>
                <a:gd name="T29" fmla="*/ 111 h 220"/>
                <a:gd name="T30" fmla="*/ 218 w 221"/>
                <a:gd name="T31" fmla="*/ 88 h 220"/>
                <a:gd name="T32" fmla="*/ 191 w 221"/>
                <a:gd name="T33" fmla="*/ 83 h 220"/>
                <a:gd name="T34" fmla="*/ 179 w 221"/>
                <a:gd name="T35" fmla="*/ 76 h 220"/>
                <a:gd name="T36" fmla="*/ 175 w 221"/>
                <a:gd name="T37" fmla="*/ 67 h 220"/>
                <a:gd name="T38" fmla="*/ 185 w 221"/>
                <a:gd name="T39" fmla="*/ 37 h 220"/>
                <a:gd name="T40" fmla="*/ 171 w 221"/>
                <a:gd name="T41" fmla="*/ 18 h 220"/>
                <a:gd name="T42" fmla="*/ 148 w 221"/>
                <a:gd name="T43" fmla="*/ 34 h 220"/>
                <a:gd name="T44" fmla="*/ 135 w 221"/>
                <a:gd name="T45" fmla="*/ 37 h 220"/>
                <a:gd name="T46" fmla="*/ 126 w 221"/>
                <a:gd name="T47" fmla="*/ 34 h 220"/>
                <a:gd name="T48" fmla="*/ 112 w 221"/>
                <a:gd name="T49" fmla="*/ 6 h 220"/>
                <a:gd name="T50" fmla="*/ 88 w 221"/>
                <a:gd name="T51" fmla="*/ 2 h 220"/>
                <a:gd name="T52" fmla="*/ 83 w 221"/>
                <a:gd name="T53" fmla="*/ 29 h 220"/>
                <a:gd name="T54" fmla="*/ 68 w 221"/>
                <a:gd name="T55" fmla="*/ 46 h 220"/>
                <a:gd name="T56" fmla="*/ 38 w 221"/>
                <a:gd name="T57" fmla="*/ 35 h 220"/>
                <a:gd name="T58" fmla="*/ 19 w 221"/>
                <a:gd name="T59" fmla="*/ 49 h 220"/>
                <a:gd name="T60" fmla="*/ 34 w 221"/>
                <a:gd name="T61" fmla="*/ 72 h 220"/>
                <a:gd name="T62" fmla="*/ 35 w 221"/>
                <a:gd name="T63" fmla="*/ 96 h 220"/>
                <a:gd name="T64" fmla="*/ 6 w 221"/>
                <a:gd name="T65" fmla="*/ 109 h 220"/>
                <a:gd name="T66" fmla="*/ 3 w 221"/>
                <a:gd name="T67" fmla="*/ 132 h 220"/>
                <a:gd name="T68" fmla="*/ 30 w 221"/>
                <a:gd name="T69" fmla="*/ 137 h 220"/>
                <a:gd name="T70" fmla="*/ 46 w 221"/>
                <a:gd name="T71" fmla="*/ 152 h 220"/>
                <a:gd name="T72" fmla="*/ 46 w 221"/>
                <a:gd name="T73" fmla="*/ 166 h 220"/>
                <a:gd name="T74" fmla="*/ 37 w 221"/>
                <a:gd name="T75" fmla="*/ 192 h 220"/>
                <a:gd name="T76" fmla="*/ 78 w 221"/>
                <a:gd name="T77" fmla="*/ 85 h 220"/>
                <a:gd name="T78" fmla="*/ 142 w 221"/>
                <a:gd name="T79" fmla="*/ 134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1" h="220">
                  <a:moveTo>
                    <a:pt x="37" y="192"/>
                  </a:moveTo>
                  <a:cubicBezTo>
                    <a:pt x="50" y="202"/>
                    <a:pt x="50" y="202"/>
                    <a:pt x="50" y="202"/>
                  </a:cubicBezTo>
                  <a:cubicBezTo>
                    <a:pt x="52" y="203"/>
                    <a:pt x="56" y="203"/>
                    <a:pt x="59" y="201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8" y="181"/>
                    <a:pt x="82" y="181"/>
                    <a:pt x="85" y="183"/>
                  </a:cubicBezTo>
                  <a:cubicBezTo>
                    <a:pt x="86" y="183"/>
                    <a:pt x="86" y="183"/>
                    <a:pt x="86" y="183"/>
                  </a:cubicBezTo>
                  <a:cubicBezTo>
                    <a:pt x="89" y="184"/>
                    <a:pt x="92" y="185"/>
                    <a:pt x="95" y="185"/>
                  </a:cubicBezTo>
                  <a:cubicBezTo>
                    <a:pt x="95" y="185"/>
                    <a:pt x="95" y="185"/>
                    <a:pt x="95" y="185"/>
                  </a:cubicBezTo>
                  <a:cubicBezTo>
                    <a:pt x="99" y="186"/>
                    <a:pt x="103" y="188"/>
                    <a:pt x="105" y="195"/>
                  </a:cubicBezTo>
                  <a:cubicBezTo>
                    <a:pt x="109" y="214"/>
                    <a:pt x="109" y="214"/>
                    <a:pt x="109" y="214"/>
                  </a:cubicBezTo>
                  <a:cubicBezTo>
                    <a:pt x="110" y="218"/>
                    <a:pt x="114" y="220"/>
                    <a:pt x="116" y="220"/>
                  </a:cubicBezTo>
                  <a:cubicBezTo>
                    <a:pt x="133" y="218"/>
                    <a:pt x="133" y="218"/>
                    <a:pt x="133" y="218"/>
                  </a:cubicBezTo>
                  <a:cubicBezTo>
                    <a:pt x="135" y="217"/>
                    <a:pt x="138" y="214"/>
                    <a:pt x="138" y="210"/>
                  </a:cubicBezTo>
                  <a:cubicBezTo>
                    <a:pt x="138" y="191"/>
                    <a:pt x="138" y="191"/>
                    <a:pt x="138" y="191"/>
                  </a:cubicBezTo>
                  <a:cubicBezTo>
                    <a:pt x="138" y="184"/>
                    <a:pt x="141" y="181"/>
                    <a:pt x="144" y="179"/>
                  </a:cubicBezTo>
                  <a:cubicBezTo>
                    <a:pt x="144" y="179"/>
                    <a:pt x="145" y="179"/>
                    <a:pt x="145" y="179"/>
                  </a:cubicBezTo>
                  <a:cubicBezTo>
                    <a:pt x="147" y="177"/>
                    <a:pt x="150" y="176"/>
                    <a:pt x="153" y="174"/>
                  </a:cubicBezTo>
                  <a:cubicBezTo>
                    <a:pt x="153" y="174"/>
                    <a:pt x="153" y="174"/>
                    <a:pt x="153" y="174"/>
                  </a:cubicBezTo>
                  <a:cubicBezTo>
                    <a:pt x="156" y="172"/>
                    <a:pt x="161" y="171"/>
                    <a:pt x="167" y="174"/>
                  </a:cubicBezTo>
                  <a:cubicBezTo>
                    <a:pt x="183" y="184"/>
                    <a:pt x="183" y="184"/>
                    <a:pt x="183" y="184"/>
                  </a:cubicBezTo>
                  <a:cubicBezTo>
                    <a:pt x="187" y="186"/>
                    <a:pt x="191" y="185"/>
                    <a:pt x="192" y="183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4" y="169"/>
                    <a:pt x="204" y="164"/>
                    <a:pt x="201" y="161"/>
                  </a:cubicBezTo>
                  <a:cubicBezTo>
                    <a:pt x="187" y="148"/>
                    <a:pt x="187" y="148"/>
                    <a:pt x="187" y="148"/>
                  </a:cubicBezTo>
                  <a:cubicBezTo>
                    <a:pt x="182" y="143"/>
                    <a:pt x="182" y="139"/>
                    <a:pt x="183" y="135"/>
                  </a:cubicBezTo>
                  <a:cubicBezTo>
                    <a:pt x="183" y="135"/>
                    <a:pt x="183" y="135"/>
                    <a:pt x="183" y="134"/>
                  </a:cubicBezTo>
                  <a:cubicBezTo>
                    <a:pt x="184" y="131"/>
                    <a:pt x="185" y="128"/>
                    <a:pt x="186" y="126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87" y="121"/>
                    <a:pt x="189" y="117"/>
                    <a:pt x="196" y="116"/>
                  </a:cubicBezTo>
                  <a:cubicBezTo>
                    <a:pt x="215" y="111"/>
                    <a:pt x="215" y="111"/>
                    <a:pt x="215" y="111"/>
                  </a:cubicBezTo>
                  <a:cubicBezTo>
                    <a:pt x="218" y="110"/>
                    <a:pt x="221" y="106"/>
                    <a:pt x="220" y="104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8" y="85"/>
                    <a:pt x="215" y="82"/>
                    <a:pt x="211" y="82"/>
                  </a:cubicBezTo>
                  <a:cubicBezTo>
                    <a:pt x="191" y="83"/>
                    <a:pt x="191" y="83"/>
                    <a:pt x="191" y="83"/>
                  </a:cubicBezTo>
                  <a:cubicBezTo>
                    <a:pt x="184" y="83"/>
                    <a:pt x="181" y="80"/>
                    <a:pt x="180" y="76"/>
                  </a:cubicBezTo>
                  <a:cubicBezTo>
                    <a:pt x="180" y="76"/>
                    <a:pt x="179" y="76"/>
                    <a:pt x="179" y="76"/>
                  </a:cubicBezTo>
                  <a:cubicBezTo>
                    <a:pt x="178" y="73"/>
                    <a:pt x="176" y="70"/>
                    <a:pt x="175" y="68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2" y="64"/>
                    <a:pt x="171" y="60"/>
                    <a:pt x="175" y="53"/>
                  </a:cubicBezTo>
                  <a:cubicBezTo>
                    <a:pt x="185" y="37"/>
                    <a:pt x="185" y="37"/>
                    <a:pt x="185" y="37"/>
                  </a:cubicBezTo>
                  <a:cubicBezTo>
                    <a:pt x="187" y="34"/>
                    <a:pt x="186" y="29"/>
                    <a:pt x="184" y="28"/>
                  </a:cubicBezTo>
                  <a:cubicBezTo>
                    <a:pt x="171" y="18"/>
                    <a:pt x="171" y="18"/>
                    <a:pt x="171" y="18"/>
                  </a:cubicBezTo>
                  <a:cubicBezTo>
                    <a:pt x="169" y="17"/>
                    <a:pt x="164" y="16"/>
                    <a:pt x="162" y="19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3" y="38"/>
                    <a:pt x="139" y="38"/>
                    <a:pt x="135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2" y="36"/>
                    <a:pt x="129" y="35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1" y="34"/>
                    <a:pt x="118" y="32"/>
                    <a:pt x="116" y="24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1" y="2"/>
                    <a:pt x="107" y="0"/>
                    <a:pt x="104" y="0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6" y="2"/>
                    <a:pt x="83" y="6"/>
                    <a:pt x="83" y="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36"/>
                    <a:pt x="80" y="39"/>
                    <a:pt x="77" y="41"/>
                  </a:cubicBezTo>
                  <a:cubicBezTo>
                    <a:pt x="73" y="42"/>
                    <a:pt x="70" y="44"/>
                    <a:pt x="68" y="46"/>
                  </a:cubicBezTo>
                  <a:cubicBezTo>
                    <a:pt x="64" y="48"/>
                    <a:pt x="60" y="49"/>
                    <a:pt x="54" y="46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4" y="33"/>
                    <a:pt x="30" y="35"/>
                    <a:pt x="29" y="36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7" y="51"/>
                    <a:pt x="17" y="56"/>
                    <a:pt x="20" y="59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8" y="76"/>
                    <a:pt x="39" y="80"/>
                    <a:pt x="38" y="83"/>
                  </a:cubicBezTo>
                  <a:cubicBezTo>
                    <a:pt x="37" y="87"/>
                    <a:pt x="36" y="91"/>
                    <a:pt x="35" y="96"/>
                  </a:cubicBezTo>
                  <a:cubicBezTo>
                    <a:pt x="34" y="99"/>
                    <a:pt x="32" y="103"/>
                    <a:pt x="25" y="104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2" y="110"/>
                    <a:pt x="0" y="113"/>
                    <a:pt x="1" y="116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3" y="134"/>
                    <a:pt x="6" y="138"/>
                    <a:pt x="10" y="138"/>
                  </a:cubicBezTo>
                  <a:cubicBezTo>
                    <a:pt x="30" y="137"/>
                    <a:pt x="30" y="137"/>
                    <a:pt x="30" y="137"/>
                  </a:cubicBezTo>
                  <a:cubicBezTo>
                    <a:pt x="37" y="137"/>
                    <a:pt x="40" y="140"/>
                    <a:pt x="41" y="144"/>
                  </a:cubicBezTo>
                  <a:cubicBezTo>
                    <a:pt x="43" y="147"/>
                    <a:pt x="44" y="150"/>
                    <a:pt x="46" y="152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49" y="156"/>
                    <a:pt x="50" y="160"/>
                    <a:pt x="46" y="166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4" y="186"/>
                    <a:pt x="35" y="190"/>
                    <a:pt x="37" y="192"/>
                  </a:cubicBezTo>
                  <a:close/>
                  <a:moveTo>
                    <a:pt x="86" y="142"/>
                  </a:moveTo>
                  <a:cubicBezTo>
                    <a:pt x="68" y="128"/>
                    <a:pt x="65" y="103"/>
                    <a:pt x="78" y="85"/>
                  </a:cubicBezTo>
                  <a:cubicBezTo>
                    <a:pt x="92" y="68"/>
                    <a:pt x="117" y="64"/>
                    <a:pt x="135" y="78"/>
                  </a:cubicBezTo>
                  <a:cubicBezTo>
                    <a:pt x="152" y="92"/>
                    <a:pt x="156" y="117"/>
                    <a:pt x="142" y="134"/>
                  </a:cubicBezTo>
                  <a:cubicBezTo>
                    <a:pt x="129" y="152"/>
                    <a:pt x="103" y="155"/>
                    <a:pt x="86" y="142"/>
                  </a:cubicBez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sp>
          <p:nvSpPr>
            <p:cNvPr id="308" name="Freeform 7"/>
            <p:cNvSpPr>
              <a:spLocks noEditPoints="1"/>
            </p:cNvSpPr>
            <p:nvPr/>
          </p:nvSpPr>
          <p:spPr bwMode="auto">
            <a:xfrm>
              <a:off x="9547850" y="4169266"/>
              <a:ext cx="346564" cy="348342"/>
            </a:xfrm>
            <a:custGeom>
              <a:avLst/>
              <a:gdLst>
                <a:gd name="T0" fmla="*/ 106 w 109"/>
                <a:gd name="T1" fmla="*/ 67 h 110"/>
                <a:gd name="T2" fmla="*/ 91 w 109"/>
                <a:gd name="T3" fmla="*/ 57 h 110"/>
                <a:gd name="T4" fmla="*/ 91 w 109"/>
                <a:gd name="T5" fmla="*/ 57 h 110"/>
                <a:gd name="T6" fmla="*/ 90 w 109"/>
                <a:gd name="T7" fmla="*/ 48 h 110"/>
                <a:gd name="T8" fmla="*/ 91 w 109"/>
                <a:gd name="T9" fmla="*/ 48 h 110"/>
                <a:gd name="T10" fmla="*/ 104 w 109"/>
                <a:gd name="T11" fmla="*/ 37 h 110"/>
                <a:gd name="T12" fmla="*/ 106 w 109"/>
                <a:gd name="T13" fmla="*/ 30 h 110"/>
                <a:gd name="T14" fmla="*/ 99 w 109"/>
                <a:gd name="T15" fmla="*/ 27 h 110"/>
                <a:gd name="T16" fmla="*/ 82 w 109"/>
                <a:gd name="T17" fmla="*/ 31 h 110"/>
                <a:gd name="T18" fmla="*/ 82 w 109"/>
                <a:gd name="T19" fmla="*/ 31 h 110"/>
                <a:gd name="T20" fmla="*/ 75 w 109"/>
                <a:gd name="T21" fmla="*/ 25 h 110"/>
                <a:gd name="T22" fmla="*/ 75 w 109"/>
                <a:gd name="T23" fmla="*/ 24 h 110"/>
                <a:gd name="T24" fmla="*/ 77 w 109"/>
                <a:gd name="T25" fmla="*/ 7 h 110"/>
                <a:gd name="T26" fmla="*/ 73 w 109"/>
                <a:gd name="T27" fmla="*/ 1 h 110"/>
                <a:gd name="T28" fmla="*/ 66 w 109"/>
                <a:gd name="T29" fmla="*/ 3 h 110"/>
                <a:gd name="T30" fmla="*/ 57 w 109"/>
                <a:gd name="T31" fmla="*/ 18 h 110"/>
                <a:gd name="T32" fmla="*/ 57 w 109"/>
                <a:gd name="T33" fmla="*/ 18 h 110"/>
                <a:gd name="T34" fmla="*/ 48 w 109"/>
                <a:gd name="T35" fmla="*/ 19 h 110"/>
                <a:gd name="T36" fmla="*/ 47 w 109"/>
                <a:gd name="T37" fmla="*/ 18 h 110"/>
                <a:gd name="T38" fmla="*/ 37 w 109"/>
                <a:gd name="T39" fmla="*/ 5 h 110"/>
                <a:gd name="T40" fmla="*/ 29 w 109"/>
                <a:gd name="T41" fmla="*/ 3 h 110"/>
                <a:gd name="T42" fmla="*/ 26 w 109"/>
                <a:gd name="T43" fmla="*/ 10 h 110"/>
                <a:gd name="T44" fmla="*/ 30 w 109"/>
                <a:gd name="T45" fmla="*/ 27 h 110"/>
                <a:gd name="T46" fmla="*/ 30 w 109"/>
                <a:gd name="T47" fmla="*/ 27 h 110"/>
                <a:gd name="T48" fmla="*/ 24 w 109"/>
                <a:gd name="T49" fmla="*/ 34 h 110"/>
                <a:gd name="T50" fmla="*/ 24 w 109"/>
                <a:gd name="T51" fmla="*/ 34 h 110"/>
                <a:gd name="T52" fmla="*/ 7 w 109"/>
                <a:gd name="T53" fmla="*/ 32 h 110"/>
                <a:gd name="T54" fmla="*/ 0 w 109"/>
                <a:gd name="T55" fmla="*/ 36 h 110"/>
                <a:gd name="T56" fmla="*/ 3 w 109"/>
                <a:gd name="T57" fmla="*/ 43 h 110"/>
                <a:gd name="T58" fmla="*/ 17 w 109"/>
                <a:gd name="T59" fmla="*/ 52 h 110"/>
                <a:gd name="T60" fmla="*/ 18 w 109"/>
                <a:gd name="T61" fmla="*/ 62 h 110"/>
                <a:gd name="T62" fmla="*/ 5 w 109"/>
                <a:gd name="T63" fmla="*/ 73 h 110"/>
                <a:gd name="T64" fmla="*/ 3 w 109"/>
                <a:gd name="T65" fmla="*/ 80 h 110"/>
                <a:gd name="T66" fmla="*/ 10 w 109"/>
                <a:gd name="T67" fmla="*/ 83 h 110"/>
                <a:gd name="T68" fmla="*/ 26 w 109"/>
                <a:gd name="T69" fmla="*/ 79 h 110"/>
                <a:gd name="T70" fmla="*/ 34 w 109"/>
                <a:gd name="T71" fmla="*/ 86 h 110"/>
                <a:gd name="T72" fmla="*/ 32 w 109"/>
                <a:gd name="T73" fmla="*/ 102 h 110"/>
                <a:gd name="T74" fmla="*/ 36 w 109"/>
                <a:gd name="T75" fmla="*/ 109 h 110"/>
                <a:gd name="T76" fmla="*/ 43 w 109"/>
                <a:gd name="T77" fmla="*/ 106 h 110"/>
                <a:gd name="T78" fmla="*/ 51 w 109"/>
                <a:gd name="T79" fmla="*/ 92 h 110"/>
                <a:gd name="T80" fmla="*/ 62 w 109"/>
                <a:gd name="T81" fmla="*/ 91 h 110"/>
                <a:gd name="T82" fmla="*/ 72 w 109"/>
                <a:gd name="T83" fmla="*/ 104 h 110"/>
                <a:gd name="T84" fmla="*/ 79 w 109"/>
                <a:gd name="T85" fmla="*/ 106 h 110"/>
                <a:gd name="T86" fmla="*/ 82 w 109"/>
                <a:gd name="T87" fmla="*/ 99 h 110"/>
                <a:gd name="T88" fmla="*/ 79 w 109"/>
                <a:gd name="T89" fmla="*/ 83 h 110"/>
                <a:gd name="T90" fmla="*/ 85 w 109"/>
                <a:gd name="T91" fmla="*/ 75 h 110"/>
                <a:gd name="T92" fmla="*/ 102 w 109"/>
                <a:gd name="T93" fmla="*/ 77 h 110"/>
                <a:gd name="T94" fmla="*/ 108 w 109"/>
                <a:gd name="T95" fmla="*/ 73 h 110"/>
                <a:gd name="T96" fmla="*/ 106 w 109"/>
                <a:gd name="T97" fmla="*/ 67 h 110"/>
                <a:gd name="T98" fmla="*/ 46 w 109"/>
                <a:gd name="T99" fmla="*/ 78 h 110"/>
                <a:gd name="T100" fmla="*/ 32 w 109"/>
                <a:gd name="T101" fmla="*/ 47 h 110"/>
                <a:gd name="T102" fmla="*/ 62 w 109"/>
                <a:gd name="T103" fmla="*/ 33 h 110"/>
                <a:gd name="T104" fmla="*/ 77 w 109"/>
                <a:gd name="T105" fmla="*/ 63 h 110"/>
                <a:gd name="T106" fmla="*/ 46 w 109"/>
                <a:gd name="T107" fmla="*/ 7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9" h="110">
                  <a:moveTo>
                    <a:pt x="106" y="67"/>
                  </a:move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4"/>
                    <a:pt x="91" y="51"/>
                    <a:pt x="90" y="48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6" y="35"/>
                    <a:pt x="107" y="32"/>
                    <a:pt x="106" y="30"/>
                  </a:cubicBezTo>
                  <a:cubicBezTo>
                    <a:pt x="105" y="27"/>
                    <a:pt x="102" y="26"/>
                    <a:pt x="99" y="27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0" y="28"/>
                    <a:pt x="78" y="26"/>
                    <a:pt x="75" y="25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7" y="4"/>
                    <a:pt x="76" y="2"/>
                    <a:pt x="73" y="1"/>
                  </a:cubicBezTo>
                  <a:cubicBezTo>
                    <a:pt x="71" y="0"/>
                    <a:pt x="68" y="1"/>
                    <a:pt x="66" y="3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4" y="18"/>
                    <a:pt x="51" y="18"/>
                    <a:pt x="48" y="19"/>
                  </a:cubicBezTo>
                  <a:cubicBezTo>
                    <a:pt x="47" y="19"/>
                    <a:pt x="47" y="19"/>
                    <a:pt x="47" y="1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5" y="3"/>
                    <a:pt x="32" y="2"/>
                    <a:pt x="29" y="3"/>
                  </a:cubicBezTo>
                  <a:cubicBezTo>
                    <a:pt x="27" y="5"/>
                    <a:pt x="26" y="7"/>
                    <a:pt x="26" y="1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8" y="29"/>
                    <a:pt x="26" y="31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4" y="32"/>
                    <a:pt x="1" y="34"/>
                    <a:pt x="0" y="36"/>
                  </a:cubicBezTo>
                  <a:cubicBezTo>
                    <a:pt x="0" y="38"/>
                    <a:pt x="1" y="42"/>
                    <a:pt x="3" y="43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5"/>
                    <a:pt x="17" y="59"/>
                    <a:pt x="18" y="62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3" y="74"/>
                    <a:pt x="2" y="77"/>
                    <a:pt x="3" y="80"/>
                  </a:cubicBezTo>
                  <a:cubicBezTo>
                    <a:pt x="4" y="82"/>
                    <a:pt x="7" y="83"/>
                    <a:pt x="10" y="83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8" y="82"/>
                    <a:pt x="31" y="84"/>
                    <a:pt x="34" y="86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5"/>
                    <a:pt x="33" y="108"/>
                    <a:pt x="36" y="109"/>
                  </a:cubicBezTo>
                  <a:cubicBezTo>
                    <a:pt x="38" y="110"/>
                    <a:pt x="41" y="108"/>
                    <a:pt x="43" y="106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5" y="92"/>
                    <a:pt x="58" y="92"/>
                    <a:pt x="62" y="91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4" y="106"/>
                    <a:pt x="77" y="107"/>
                    <a:pt x="79" y="106"/>
                  </a:cubicBezTo>
                  <a:cubicBezTo>
                    <a:pt x="82" y="105"/>
                    <a:pt x="83" y="102"/>
                    <a:pt x="82" y="99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81" y="81"/>
                    <a:pt x="83" y="78"/>
                    <a:pt x="85" y="75"/>
                  </a:cubicBezTo>
                  <a:cubicBezTo>
                    <a:pt x="102" y="77"/>
                    <a:pt x="102" y="77"/>
                    <a:pt x="102" y="77"/>
                  </a:cubicBezTo>
                  <a:cubicBezTo>
                    <a:pt x="105" y="78"/>
                    <a:pt x="107" y="76"/>
                    <a:pt x="108" y="73"/>
                  </a:cubicBezTo>
                  <a:cubicBezTo>
                    <a:pt x="109" y="71"/>
                    <a:pt x="108" y="68"/>
                    <a:pt x="106" y="67"/>
                  </a:cubicBezTo>
                  <a:close/>
                  <a:moveTo>
                    <a:pt x="46" y="78"/>
                  </a:moveTo>
                  <a:cubicBezTo>
                    <a:pt x="34" y="73"/>
                    <a:pt x="28" y="60"/>
                    <a:pt x="32" y="47"/>
                  </a:cubicBezTo>
                  <a:cubicBezTo>
                    <a:pt x="36" y="35"/>
                    <a:pt x="50" y="28"/>
                    <a:pt x="62" y="33"/>
                  </a:cubicBezTo>
                  <a:cubicBezTo>
                    <a:pt x="74" y="37"/>
                    <a:pt x="81" y="50"/>
                    <a:pt x="77" y="63"/>
                  </a:cubicBezTo>
                  <a:cubicBezTo>
                    <a:pt x="72" y="75"/>
                    <a:pt x="59" y="82"/>
                    <a:pt x="46" y="78"/>
                  </a:cubicBezTo>
                  <a:close/>
                </a:path>
              </a:pathLst>
            </a:custGeom>
            <a:solidFill>
              <a:srgbClr val="B4009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grpSp>
          <p:nvGrpSpPr>
            <p:cNvPr id="309" name="Group 308"/>
            <p:cNvGrpSpPr/>
            <p:nvPr/>
          </p:nvGrpSpPr>
          <p:grpSpPr>
            <a:xfrm>
              <a:off x="11016919" y="2536541"/>
              <a:ext cx="802433" cy="1881715"/>
              <a:chOff x="11016919" y="2910093"/>
              <a:chExt cx="802433" cy="1881715"/>
            </a:xfrm>
          </p:grpSpPr>
          <p:sp>
            <p:nvSpPr>
              <p:cNvPr id="488" name="Freeform 487"/>
              <p:cNvSpPr/>
              <p:nvPr/>
            </p:nvSpPr>
            <p:spPr bwMode="auto">
              <a:xfrm>
                <a:off x="11016919" y="2910393"/>
                <a:ext cx="802433" cy="1881415"/>
              </a:xfrm>
              <a:custGeom>
                <a:avLst/>
                <a:gdLst>
                  <a:gd name="connsiteX0" fmla="*/ 186612 w 858416"/>
                  <a:gd name="connsiteY0" fmla="*/ 18661 h 1894115"/>
                  <a:gd name="connsiteX1" fmla="*/ 0 w 858416"/>
                  <a:gd name="connsiteY1" fmla="*/ 578498 h 1894115"/>
                  <a:gd name="connsiteX2" fmla="*/ 177282 w 858416"/>
                  <a:gd name="connsiteY2" fmla="*/ 410547 h 1894115"/>
                  <a:gd name="connsiteX3" fmla="*/ 93306 w 858416"/>
                  <a:gd name="connsiteY3" fmla="*/ 830425 h 1894115"/>
                  <a:gd name="connsiteX4" fmla="*/ 205273 w 858416"/>
                  <a:gd name="connsiteY4" fmla="*/ 662474 h 1894115"/>
                  <a:gd name="connsiteX5" fmla="*/ 382555 w 858416"/>
                  <a:gd name="connsiteY5" fmla="*/ 1894115 h 1894115"/>
                  <a:gd name="connsiteX6" fmla="*/ 457200 w 858416"/>
                  <a:gd name="connsiteY6" fmla="*/ 886408 h 1894115"/>
                  <a:gd name="connsiteX7" fmla="*/ 531845 w 858416"/>
                  <a:gd name="connsiteY7" fmla="*/ 1240972 h 1894115"/>
                  <a:gd name="connsiteX8" fmla="*/ 587828 w 858416"/>
                  <a:gd name="connsiteY8" fmla="*/ 709127 h 1894115"/>
                  <a:gd name="connsiteX9" fmla="*/ 858416 w 858416"/>
                  <a:gd name="connsiteY9" fmla="*/ 961053 h 1894115"/>
                  <a:gd name="connsiteX10" fmla="*/ 690465 w 858416"/>
                  <a:gd name="connsiteY10" fmla="*/ 578498 h 1894115"/>
                  <a:gd name="connsiteX11" fmla="*/ 802433 w 858416"/>
                  <a:gd name="connsiteY11" fmla="*/ 653143 h 1894115"/>
                  <a:gd name="connsiteX12" fmla="*/ 587828 w 858416"/>
                  <a:gd name="connsiteY12" fmla="*/ 0 h 1894115"/>
                  <a:gd name="connsiteX13" fmla="*/ 186612 w 858416"/>
                  <a:gd name="connsiteY13" fmla="*/ 18661 h 1894115"/>
                  <a:gd name="connsiteX0" fmla="*/ 186612 w 802433"/>
                  <a:gd name="connsiteY0" fmla="*/ 18661 h 1894115"/>
                  <a:gd name="connsiteX1" fmla="*/ 0 w 802433"/>
                  <a:gd name="connsiteY1" fmla="*/ 578498 h 1894115"/>
                  <a:gd name="connsiteX2" fmla="*/ 177282 w 802433"/>
                  <a:gd name="connsiteY2" fmla="*/ 410547 h 1894115"/>
                  <a:gd name="connsiteX3" fmla="*/ 93306 w 802433"/>
                  <a:gd name="connsiteY3" fmla="*/ 830425 h 1894115"/>
                  <a:gd name="connsiteX4" fmla="*/ 205273 w 802433"/>
                  <a:gd name="connsiteY4" fmla="*/ 662474 h 1894115"/>
                  <a:gd name="connsiteX5" fmla="*/ 382555 w 802433"/>
                  <a:gd name="connsiteY5" fmla="*/ 1894115 h 1894115"/>
                  <a:gd name="connsiteX6" fmla="*/ 457200 w 802433"/>
                  <a:gd name="connsiteY6" fmla="*/ 886408 h 1894115"/>
                  <a:gd name="connsiteX7" fmla="*/ 531845 w 802433"/>
                  <a:gd name="connsiteY7" fmla="*/ 1240972 h 1894115"/>
                  <a:gd name="connsiteX8" fmla="*/ 587828 w 802433"/>
                  <a:gd name="connsiteY8" fmla="*/ 709127 h 1894115"/>
                  <a:gd name="connsiteX9" fmla="*/ 755780 w 802433"/>
                  <a:gd name="connsiteY9" fmla="*/ 1035698 h 1894115"/>
                  <a:gd name="connsiteX10" fmla="*/ 690465 w 802433"/>
                  <a:gd name="connsiteY10" fmla="*/ 578498 h 1894115"/>
                  <a:gd name="connsiteX11" fmla="*/ 802433 w 802433"/>
                  <a:gd name="connsiteY11" fmla="*/ 653143 h 1894115"/>
                  <a:gd name="connsiteX12" fmla="*/ 587828 w 802433"/>
                  <a:gd name="connsiteY12" fmla="*/ 0 h 1894115"/>
                  <a:gd name="connsiteX13" fmla="*/ 186612 w 802433"/>
                  <a:gd name="connsiteY13" fmla="*/ 18661 h 1894115"/>
                  <a:gd name="connsiteX0" fmla="*/ 186612 w 802433"/>
                  <a:gd name="connsiteY0" fmla="*/ 18661 h 1894115"/>
                  <a:gd name="connsiteX1" fmla="*/ 0 w 802433"/>
                  <a:gd name="connsiteY1" fmla="*/ 578498 h 1894115"/>
                  <a:gd name="connsiteX2" fmla="*/ 177282 w 802433"/>
                  <a:gd name="connsiteY2" fmla="*/ 410547 h 1894115"/>
                  <a:gd name="connsiteX3" fmla="*/ 93306 w 802433"/>
                  <a:gd name="connsiteY3" fmla="*/ 830425 h 1894115"/>
                  <a:gd name="connsiteX4" fmla="*/ 205273 w 802433"/>
                  <a:gd name="connsiteY4" fmla="*/ 662474 h 1894115"/>
                  <a:gd name="connsiteX5" fmla="*/ 382555 w 802433"/>
                  <a:gd name="connsiteY5" fmla="*/ 1894115 h 1894115"/>
                  <a:gd name="connsiteX6" fmla="*/ 457200 w 802433"/>
                  <a:gd name="connsiteY6" fmla="*/ 923730 h 1894115"/>
                  <a:gd name="connsiteX7" fmla="*/ 531845 w 802433"/>
                  <a:gd name="connsiteY7" fmla="*/ 1240972 h 1894115"/>
                  <a:gd name="connsiteX8" fmla="*/ 587828 w 802433"/>
                  <a:gd name="connsiteY8" fmla="*/ 709127 h 1894115"/>
                  <a:gd name="connsiteX9" fmla="*/ 755780 w 802433"/>
                  <a:gd name="connsiteY9" fmla="*/ 1035698 h 1894115"/>
                  <a:gd name="connsiteX10" fmla="*/ 690465 w 802433"/>
                  <a:gd name="connsiteY10" fmla="*/ 578498 h 1894115"/>
                  <a:gd name="connsiteX11" fmla="*/ 802433 w 802433"/>
                  <a:gd name="connsiteY11" fmla="*/ 653143 h 1894115"/>
                  <a:gd name="connsiteX12" fmla="*/ 587828 w 802433"/>
                  <a:gd name="connsiteY12" fmla="*/ 0 h 1894115"/>
                  <a:gd name="connsiteX13" fmla="*/ 186612 w 802433"/>
                  <a:gd name="connsiteY13" fmla="*/ 18661 h 1894115"/>
                  <a:gd name="connsiteX0" fmla="*/ 186612 w 802433"/>
                  <a:gd name="connsiteY0" fmla="*/ 18661 h 1894115"/>
                  <a:gd name="connsiteX1" fmla="*/ 0 w 802433"/>
                  <a:gd name="connsiteY1" fmla="*/ 578498 h 1894115"/>
                  <a:gd name="connsiteX2" fmla="*/ 177282 w 802433"/>
                  <a:gd name="connsiteY2" fmla="*/ 410547 h 1894115"/>
                  <a:gd name="connsiteX3" fmla="*/ 93306 w 802433"/>
                  <a:gd name="connsiteY3" fmla="*/ 830425 h 1894115"/>
                  <a:gd name="connsiteX4" fmla="*/ 205273 w 802433"/>
                  <a:gd name="connsiteY4" fmla="*/ 662474 h 1894115"/>
                  <a:gd name="connsiteX5" fmla="*/ 382555 w 802433"/>
                  <a:gd name="connsiteY5" fmla="*/ 1894115 h 1894115"/>
                  <a:gd name="connsiteX6" fmla="*/ 457200 w 802433"/>
                  <a:gd name="connsiteY6" fmla="*/ 923730 h 1894115"/>
                  <a:gd name="connsiteX7" fmla="*/ 625151 w 802433"/>
                  <a:gd name="connsiteY7" fmla="*/ 1240972 h 1894115"/>
                  <a:gd name="connsiteX8" fmla="*/ 587828 w 802433"/>
                  <a:gd name="connsiteY8" fmla="*/ 709127 h 1894115"/>
                  <a:gd name="connsiteX9" fmla="*/ 755780 w 802433"/>
                  <a:gd name="connsiteY9" fmla="*/ 1035698 h 1894115"/>
                  <a:gd name="connsiteX10" fmla="*/ 690465 w 802433"/>
                  <a:gd name="connsiteY10" fmla="*/ 578498 h 1894115"/>
                  <a:gd name="connsiteX11" fmla="*/ 802433 w 802433"/>
                  <a:gd name="connsiteY11" fmla="*/ 653143 h 1894115"/>
                  <a:gd name="connsiteX12" fmla="*/ 587828 w 802433"/>
                  <a:gd name="connsiteY12" fmla="*/ 0 h 1894115"/>
                  <a:gd name="connsiteX13" fmla="*/ 186612 w 802433"/>
                  <a:gd name="connsiteY13" fmla="*/ 18661 h 1894115"/>
                  <a:gd name="connsiteX0" fmla="*/ 186612 w 802433"/>
                  <a:gd name="connsiteY0" fmla="*/ 18661 h 1894115"/>
                  <a:gd name="connsiteX1" fmla="*/ 0 w 802433"/>
                  <a:gd name="connsiteY1" fmla="*/ 578498 h 1894115"/>
                  <a:gd name="connsiteX2" fmla="*/ 177282 w 802433"/>
                  <a:gd name="connsiteY2" fmla="*/ 410547 h 1894115"/>
                  <a:gd name="connsiteX3" fmla="*/ 93306 w 802433"/>
                  <a:gd name="connsiteY3" fmla="*/ 830425 h 1894115"/>
                  <a:gd name="connsiteX4" fmla="*/ 205273 w 802433"/>
                  <a:gd name="connsiteY4" fmla="*/ 662474 h 1894115"/>
                  <a:gd name="connsiteX5" fmla="*/ 382555 w 802433"/>
                  <a:gd name="connsiteY5" fmla="*/ 1894115 h 1894115"/>
                  <a:gd name="connsiteX6" fmla="*/ 513183 w 802433"/>
                  <a:gd name="connsiteY6" fmla="*/ 989044 h 1894115"/>
                  <a:gd name="connsiteX7" fmla="*/ 625151 w 802433"/>
                  <a:gd name="connsiteY7" fmla="*/ 1240972 h 1894115"/>
                  <a:gd name="connsiteX8" fmla="*/ 587828 w 802433"/>
                  <a:gd name="connsiteY8" fmla="*/ 709127 h 1894115"/>
                  <a:gd name="connsiteX9" fmla="*/ 755780 w 802433"/>
                  <a:gd name="connsiteY9" fmla="*/ 1035698 h 1894115"/>
                  <a:gd name="connsiteX10" fmla="*/ 690465 w 802433"/>
                  <a:gd name="connsiteY10" fmla="*/ 578498 h 1894115"/>
                  <a:gd name="connsiteX11" fmla="*/ 802433 w 802433"/>
                  <a:gd name="connsiteY11" fmla="*/ 653143 h 1894115"/>
                  <a:gd name="connsiteX12" fmla="*/ 587828 w 802433"/>
                  <a:gd name="connsiteY12" fmla="*/ 0 h 1894115"/>
                  <a:gd name="connsiteX13" fmla="*/ 186612 w 802433"/>
                  <a:gd name="connsiteY13" fmla="*/ 18661 h 1894115"/>
                  <a:gd name="connsiteX0" fmla="*/ 186612 w 802433"/>
                  <a:gd name="connsiteY0" fmla="*/ 5961 h 1881415"/>
                  <a:gd name="connsiteX1" fmla="*/ 0 w 802433"/>
                  <a:gd name="connsiteY1" fmla="*/ 565798 h 1881415"/>
                  <a:gd name="connsiteX2" fmla="*/ 177282 w 802433"/>
                  <a:gd name="connsiteY2" fmla="*/ 397847 h 1881415"/>
                  <a:gd name="connsiteX3" fmla="*/ 93306 w 802433"/>
                  <a:gd name="connsiteY3" fmla="*/ 817725 h 1881415"/>
                  <a:gd name="connsiteX4" fmla="*/ 205273 w 802433"/>
                  <a:gd name="connsiteY4" fmla="*/ 649774 h 1881415"/>
                  <a:gd name="connsiteX5" fmla="*/ 382555 w 802433"/>
                  <a:gd name="connsiteY5" fmla="*/ 1881415 h 1881415"/>
                  <a:gd name="connsiteX6" fmla="*/ 513183 w 802433"/>
                  <a:gd name="connsiteY6" fmla="*/ 976344 h 1881415"/>
                  <a:gd name="connsiteX7" fmla="*/ 625151 w 802433"/>
                  <a:gd name="connsiteY7" fmla="*/ 1228272 h 1881415"/>
                  <a:gd name="connsiteX8" fmla="*/ 587828 w 802433"/>
                  <a:gd name="connsiteY8" fmla="*/ 696427 h 1881415"/>
                  <a:gd name="connsiteX9" fmla="*/ 755780 w 802433"/>
                  <a:gd name="connsiteY9" fmla="*/ 1022998 h 1881415"/>
                  <a:gd name="connsiteX10" fmla="*/ 690465 w 802433"/>
                  <a:gd name="connsiteY10" fmla="*/ 565798 h 1881415"/>
                  <a:gd name="connsiteX11" fmla="*/ 802433 w 802433"/>
                  <a:gd name="connsiteY11" fmla="*/ 640443 h 1881415"/>
                  <a:gd name="connsiteX12" fmla="*/ 594178 w 802433"/>
                  <a:gd name="connsiteY12" fmla="*/ 0 h 1881415"/>
                  <a:gd name="connsiteX13" fmla="*/ 186612 w 802433"/>
                  <a:gd name="connsiteY13" fmla="*/ 5961 h 1881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2433" h="1881415">
                    <a:moveTo>
                      <a:pt x="186612" y="5961"/>
                    </a:moveTo>
                    <a:lnTo>
                      <a:pt x="0" y="565798"/>
                    </a:lnTo>
                    <a:lnTo>
                      <a:pt x="177282" y="397847"/>
                    </a:lnTo>
                    <a:lnTo>
                      <a:pt x="93306" y="817725"/>
                    </a:lnTo>
                    <a:lnTo>
                      <a:pt x="205273" y="649774"/>
                    </a:lnTo>
                    <a:lnTo>
                      <a:pt x="382555" y="1881415"/>
                    </a:lnTo>
                    <a:lnTo>
                      <a:pt x="513183" y="976344"/>
                    </a:lnTo>
                    <a:lnTo>
                      <a:pt x="625151" y="1228272"/>
                    </a:lnTo>
                    <a:lnTo>
                      <a:pt x="587828" y="696427"/>
                    </a:lnTo>
                    <a:lnTo>
                      <a:pt x="755780" y="1022998"/>
                    </a:lnTo>
                    <a:lnTo>
                      <a:pt x="690465" y="565798"/>
                    </a:lnTo>
                    <a:lnTo>
                      <a:pt x="802433" y="640443"/>
                    </a:lnTo>
                    <a:lnTo>
                      <a:pt x="594178" y="0"/>
                    </a:lnTo>
                    <a:lnTo>
                      <a:pt x="186612" y="5961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353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9" name="Freeform 488"/>
              <p:cNvSpPr/>
              <p:nvPr/>
            </p:nvSpPr>
            <p:spPr bwMode="auto">
              <a:xfrm>
                <a:off x="11135394" y="2910093"/>
                <a:ext cx="565481" cy="1259173"/>
              </a:xfrm>
              <a:custGeom>
                <a:avLst/>
                <a:gdLst>
                  <a:gd name="connsiteX0" fmla="*/ 186612 w 858416"/>
                  <a:gd name="connsiteY0" fmla="*/ 18661 h 1894115"/>
                  <a:gd name="connsiteX1" fmla="*/ 0 w 858416"/>
                  <a:gd name="connsiteY1" fmla="*/ 578498 h 1894115"/>
                  <a:gd name="connsiteX2" fmla="*/ 177282 w 858416"/>
                  <a:gd name="connsiteY2" fmla="*/ 410547 h 1894115"/>
                  <a:gd name="connsiteX3" fmla="*/ 93306 w 858416"/>
                  <a:gd name="connsiteY3" fmla="*/ 830425 h 1894115"/>
                  <a:gd name="connsiteX4" fmla="*/ 205273 w 858416"/>
                  <a:gd name="connsiteY4" fmla="*/ 662474 h 1894115"/>
                  <a:gd name="connsiteX5" fmla="*/ 382555 w 858416"/>
                  <a:gd name="connsiteY5" fmla="*/ 1894115 h 1894115"/>
                  <a:gd name="connsiteX6" fmla="*/ 457200 w 858416"/>
                  <a:gd name="connsiteY6" fmla="*/ 886408 h 1894115"/>
                  <a:gd name="connsiteX7" fmla="*/ 531845 w 858416"/>
                  <a:gd name="connsiteY7" fmla="*/ 1240972 h 1894115"/>
                  <a:gd name="connsiteX8" fmla="*/ 587828 w 858416"/>
                  <a:gd name="connsiteY8" fmla="*/ 709127 h 1894115"/>
                  <a:gd name="connsiteX9" fmla="*/ 858416 w 858416"/>
                  <a:gd name="connsiteY9" fmla="*/ 961053 h 1894115"/>
                  <a:gd name="connsiteX10" fmla="*/ 690465 w 858416"/>
                  <a:gd name="connsiteY10" fmla="*/ 578498 h 1894115"/>
                  <a:gd name="connsiteX11" fmla="*/ 802433 w 858416"/>
                  <a:gd name="connsiteY11" fmla="*/ 653143 h 1894115"/>
                  <a:gd name="connsiteX12" fmla="*/ 587828 w 858416"/>
                  <a:gd name="connsiteY12" fmla="*/ 0 h 1894115"/>
                  <a:gd name="connsiteX13" fmla="*/ 186612 w 858416"/>
                  <a:gd name="connsiteY13" fmla="*/ 18661 h 1894115"/>
                  <a:gd name="connsiteX0" fmla="*/ 186612 w 802433"/>
                  <a:gd name="connsiteY0" fmla="*/ 18661 h 1894115"/>
                  <a:gd name="connsiteX1" fmla="*/ 0 w 802433"/>
                  <a:gd name="connsiteY1" fmla="*/ 578498 h 1894115"/>
                  <a:gd name="connsiteX2" fmla="*/ 177282 w 802433"/>
                  <a:gd name="connsiteY2" fmla="*/ 410547 h 1894115"/>
                  <a:gd name="connsiteX3" fmla="*/ 93306 w 802433"/>
                  <a:gd name="connsiteY3" fmla="*/ 830425 h 1894115"/>
                  <a:gd name="connsiteX4" fmla="*/ 205273 w 802433"/>
                  <a:gd name="connsiteY4" fmla="*/ 662474 h 1894115"/>
                  <a:gd name="connsiteX5" fmla="*/ 382555 w 802433"/>
                  <a:gd name="connsiteY5" fmla="*/ 1894115 h 1894115"/>
                  <a:gd name="connsiteX6" fmla="*/ 457200 w 802433"/>
                  <a:gd name="connsiteY6" fmla="*/ 886408 h 1894115"/>
                  <a:gd name="connsiteX7" fmla="*/ 531845 w 802433"/>
                  <a:gd name="connsiteY7" fmla="*/ 1240972 h 1894115"/>
                  <a:gd name="connsiteX8" fmla="*/ 587828 w 802433"/>
                  <a:gd name="connsiteY8" fmla="*/ 709127 h 1894115"/>
                  <a:gd name="connsiteX9" fmla="*/ 755780 w 802433"/>
                  <a:gd name="connsiteY9" fmla="*/ 1035698 h 1894115"/>
                  <a:gd name="connsiteX10" fmla="*/ 690465 w 802433"/>
                  <a:gd name="connsiteY10" fmla="*/ 578498 h 1894115"/>
                  <a:gd name="connsiteX11" fmla="*/ 802433 w 802433"/>
                  <a:gd name="connsiteY11" fmla="*/ 653143 h 1894115"/>
                  <a:gd name="connsiteX12" fmla="*/ 587828 w 802433"/>
                  <a:gd name="connsiteY12" fmla="*/ 0 h 1894115"/>
                  <a:gd name="connsiteX13" fmla="*/ 186612 w 802433"/>
                  <a:gd name="connsiteY13" fmla="*/ 18661 h 1894115"/>
                  <a:gd name="connsiteX0" fmla="*/ 186612 w 802433"/>
                  <a:gd name="connsiteY0" fmla="*/ 18661 h 1894115"/>
                  <a:gd name="connsiteX1" fmla="*/ 0 w 802433"/>
                  <a:gd name="connsiteY1" fmla="*/ 578498 h 1894115"/>
                  <a:gd name="connsiteX2" fmla="*/ 177282 w 802433"/>
                  <a:gd name="connsiteY2" fmla="*/ 410547 h 1894115"/>
                  <a:gd name="connsiteX3" fmla="*/ 93306 w 802433"/>
                  <a:gd name="connsiteY3" fmla="*/ 830425 h 1894115"/>
                  <a:gd name="connsiteX4" fmla="*/ 205273 w 802433"/>
                  <a:gd name="connsiteY4" fmla="*/ 662474 h 1894115"/>
                  <a:gd name="connsiteX5" fmla="*/ 382555 w 802433"/>
                  <a:gd name="connsiteY5" fmla="*/ 1894115 h 1894115"/>
                  <a:gd name="connsiteX6" fmla="*/ 457200 w 802433"/>
                  <a:gd name="connsiteY6" fmla="*/ 923730 h 1894115"/>
                  <a:gd name="connsiteX7" fmla="*/ 531845 w 802433"/>
                  <a:gd name="connsiteY7" fmla="*/ 1240972 h 1894115"/>
                  <a:gd name="connsiteX8" fmla="*/ 587828 w 802433"/>
                  <a:gd name="connsiteY8" fmla="*/ 709127 h 1894115"/>
                  <a:gd name="connsiteX9" fmla="*/ 755780 w 802433"/>
                  <a:gd name="connsiteY9" fmla="*/ 1035698 h 1894115"/>
                  <a:gd name="connsiteX10" fmla="*/ 690465 w 802433"/>
                  <a:gd name="connsiteY10" fmla="*/ 578498 h 1894115"/>
                  <a:gd name="connsiteX11" fmla="*/ 802433 w 802433"/>
                  <a:gd name="connsiteY11" fmla="*/ 653143 h 1894115"/>
                  <a:gd name="connsiteX12" fmla="*/ 587828 w 802433"/>
                  <a:gd name="connsiteY12" fmla="*/ 0 h 1894115"/>
                  <a:gd name="connsiteX13" fmla="*/ 186612 w 802433"/>
                  <a:gd name="connsiteY13" fmla="*/ 18661 h 1894115"/>
                  <a:gd name="connsiteX0" fmla="*/ 186612 w 802433"/>
                  <a:gd name="connsiteY0" fmla="*/ 18661 h 1894115"/>
                  <a:gd name="connsiteX1" fmla="*/ 0 w 802433"/>
                  <a:gd name="connsiteY1" fmla="*/ 578498 h 1894115"/>
                  <a:gd name="connsiteX2" fmla="*/ 177282 w 802433"/>
                  <a:gd name="connsiteY2" fmla="*/ 410547 h 1894115"/>
                  <a:gd name="connsiteX3" fmla="*/ 93306 w 802433"/>
                  <a:gd name="connsiteY3" fmla="*/ 830425 h 1894115"/>
                  <a:gd name="connsiteX4" fmla="*/ 205273 w 802433"/>
                  <a:gd name="connsiteY4" fmla="*/ 662474 h 1894115"/>
                  <a:gd name="connsiteX5" fmla="*/ 382555 w 802433"/>
                  <a:gd name="connsiteY5" fmla="*/ 1894115 h 1894115"/>
                  <a:gd name="connsiteX6" fmla="*/ 457200 w 802433"/>
                  <a:gd name="connsiteY6" fmla="*/ 923730 h 1894115"/>
                  <a:gd name="connsiteX7" fmla="*/ 625151 w 802433"/>
                  <a:gd name="connsiteY7" fmla="*/ 1240972 h 1894115"/>
                  <a:gd name="connsiteX8" fmla="*/ 587828 w 802433"/>
                  <a:gd name="connsiteY8" fmla="*/ 709127 h 1894115"/>
                  <a:gd name="connsiteX9" fmla="*/ 755780 w 802433"/>
                  <a:gd name="connsiteY9" fmla="*/ 1035698 h 1894115"/>
                  <a:gd name="connsiteX10" fmla="*/ 690465 w 802433"/>
                  <a:gd name="connsiteY10" fmla="*/ 578498 h 1894115"/>
                  <a:gd name="connsiteX11" fmla="*/ 802433 w 802433"/>
                  <a:gd name="connsiteY11" fmla="*/ 653143 h 1894115"/>
                  <a:gd name="connsiteX12" fmla="*/ 587828 w 802433"/>
                  <a:gd name="connsiteY12" fmla="*/ 0 h 1894115"/>
                  <a:gd name="connsiteX13" fmla="*/ 186612 w 802433"/>
                  <a:gd name="connsiteY13" fmla="*/ 18661 h 1894115"/>
                  <a:gd name="connsiteX0" fmla="*/ 186612 w 802433"/>
                  <a:gd name="connsiteY0" fmla="*/ 18661 h 1894115"/>
                  <a:gd name="connsiteX1" fmla="*/ 0 w 802433"/>
                  <a:gd name="connsiteY1" fmla="*/ 578498 h 1894115"/>
                  <a:gd name="connsiteX2" fmla="*/ 177282 w 802433"/>
                  <a:gd name="connsiteY2" fmla="*/ 410547 h 1894115"/>
                  <a:gd name="connsiteX3" fmla="*/ 93306 w 802433"/>
                  <a:gd name="connsiteY3" fmla="*/ 830425 h 1894115"/>
                  <a:gd name="connsiteX4" fmla="*/ 205273 w 802433"/>
                  <a:gd name="connsiteY4" fmla="*/ 662474 h 1894115"/>
                  <a:gd name="connsiteX5" fmla="*/ 382555 w 802433"/>
                  <a:gd name="connsiteY5" fmla="*/ 1894115 h 1894115"/>
                  <a:gd name="connsiteX6" fmla="*/ 513183 w 802433"/>
                  <a:gd name="connsiteY6" fmla="*/ 989044 h 1894115"/>
                  <a:gd name="connsiteX7" fmla="*/ 625151 w 802433"/>
                  <a:gd name="connsiteY7" fmla="*/ 1240972 h 1894115"/>
                  <a:gd name="connsiteX8" fmla="*/ 587828 w 802433"/>
                  <a:gd name="connsiteY8" fmla="*/ 709127 h 1894115"/>
                  <a:gd name="connsiteX9" fmla="*/ 755780 w 802433"/>
                  <a:gd name="connsiteY9" fmla="*/ 1035698 h 1894115"/>
                  <a:gd name="connsiteX10" fmla="*/ 690465 w 802433"/>
                  <a:gd name="connsiteY10" fmla="*/ 578498 h 1894115"/>
                  <a:gd name="connsiteX11" fmla="*/ 802433 w 802433"/>
                  <a:gd name="connsiteY11" fmla="*/ 653143 h 1894115"/>
                  <a:gd name="connsiteX12" fmla="*/ 587828 w 802433"/>
                  <a:gd name="connsiteY12" fmla="*/ 0 h 1894115"/>
                  <a:gd name="connsiteX13" fmla="*/ 186612 w 802433"/>
                  <a:gd name="connsiteY13" fmla="*/ 18661 h 1894115"/>
                  <a:gd name="connsiteX0" fmla="*/ 186612 w 802433"/>
                  <a:gd name="connsiteY0" fmla="*/ 5961 h 1881415"/>
                  <a:gd name="connsiteX1" fmla="*/ 0 w 802433"/>
                  <a:gd name="connsiteY1" fmla="*/ 565798 h 1881415"/>
                  <a:gd name="connsiteX2" fmla="*/ 177282 w 802433"/>
                  <a:gd name="connsiteY2" fmla="*/ 397847 h 1881415"/>
                  <a:gd name="connsiteX3" fmla="*/ 93306 w 802433"/>
                  <a:gd name="connsiteY3" fmla="*/ 817725 h 1881415"/>
                  <a:gd name="connsiteX4" fmla="*/ 205273 w 802433"/>
                  <a:gd name="connsiteY4" fmla="*/ 649774 h 1881415"/>
                  <a:gd name="connsiteX5" fmla="*/ 382555 w 802433"/>
                  <a:gd name="connsiteY5" fmla="*/ 1881415 h 1881415"/>
                  <a:gd name="connsiteX6" fmla="*/ 513183 w 802433"/>
                  <a:gd name="connsiteY6" fmla="*/ 976344 h 1881415"/>
                  <a:gd name="connsiteX7" fmla="*/ 625151 w 802433"/>
                  <a:gd name="connsiteY7" fmla="*/ 1228272 h 1881415"/>
                  <a:gd name="connsiteX8" fmla="*/ 587828 w 802433"/>
                  <a:gd name="connsiteY8" fmla="*/ 696427 h 1881415"/>
                  <a:gd name="connsiteX9" fmla="*/ 755780 w 802433"/>
                  <a:gd name="connsiteY9" fmla="*/ 1022998 h 1881415"/>
                  <a:gd name="connsiteX10" fmla="*/ 690465 w 802433"/>
                  <a:gd name="connsiteY10" fmla="*/ 565798 h 1881415"/>
                  <a:gd name="connsiteX11" fmla="*/ 802433 w 802433"/>
                  <a:gd name="connsiteY11" fmla="*/ 640443 h 1881415"/>
                  <a:gd name="connsiteX12" fmla="*/ 594178 w 802433"/>
                  <a:gd name="connsiteY12" fmla="*/ 0 h 1881415"/>
                  <a:gd name="connsiteX13" fmla="*/ 186612 w 802433"/>
                  <a:gd name="connsiteY13" fmla="*/ 5961 h 1881415"/>
                  <a:gd name="connsiteX0" fmla="*/ 186612 w 802433"/>
                  <a:gd name="connsiteY0" fmla="*/ 5961 h 1881415"/>
                  <a:gd name="connsiteX1" fmla="*/ 0 w 802433"/>
                  <a:gd name="connsiteY1" fmla="*/ 565798 h 1881415"/>
                  <a:gd name="connsiteX2" fmla="*/ 177282 w 802433"/>
                  <a:gd name="connsiteY2" fmla="*/ 397847 h 1881415"/>
                  <a:gd name="connsiteX3" fmla="*/ 93306 w 802433"/>
                  <a:gd name="connsiteY3" fmla="*/ 817725 h 1881415"/>
                  <a:gd name="connsiteX4" fmla="*/ 205273 w 802433"/>
                  <a:gd name="connsiteY4" fmla="*/ 649774 h 1881415"/>
                  <a:gd name="connsiteX5" fmla="*/ 382555 w 802433"/>
                  <a:gd name="connsiteY5" fmla="*/ 1881415 h 1881415"/>
                  <a:gd name="connsiteX6" fmla="*/ 513183 w 802433"/>
                  <a:gd name="connsiteY6" fmla="*/ 976344 h 1881415"/>
                  <a:gd name="connsiteX7" fmla="*/ 604876 w 802433"/>
                  <a:gd name="connsiteY7" fmla="*/ 1167448 h 1881415"/>
                  <a:gd name="connsiteX8" fmla="*/ 587828 w 802433"/>
                  <a:gd name="connsiteY8" fmla="*/ 696427 h 1881415"/>
                  <a:gd name="connsiteX9" fmla="*/ 755780 w 802433"/>
                  <a:gd name="connsiteY9" fmla="*/ 1022998 h 1881415"/>
                  <a:gd name="connsiteX10" fmla="*/ 690465 w 802433"/>
                  <a:gd name="connsiteY10" fmla="*/ 565798 h 1881415"/>
                  <a:gd name="connsiteX11" fmla="*/ 802433 w 802433"/>
                  <a:gd name="connsiteY11" fmla="*/ 640443 h 1881415"/>
                  <a:gd name="connsiteX12" fmla="*/ 594178 w 802433"/>
                  <a:gd name="connsiteY12" fmla="*/ 0 h 1881415"/>
                  <a:gd name="connsiteX13" fmla="*/ 186612 w 802433"/>
                  <a:gd name="connsiteY13" fmla="*/ 5961 h 1881415"/>
                  <a:gd name="connsiteX0" fmla="*/ 186612 w 802433"/>
                  <a:gd name="connsiteY0" fmla="*/ 5961 h 1881415"/>
                  <a:gd name="connsiteX1" fmla="*/ 0 w 802433"/>
                  <a:gd name="connsiteY1" fmla="*/ 565798 h 1881415"/>
                  <a:gd name="connsiteX2" fmla="*/ 177282 w 802433"/>
                  <a:gd name="connsiteY2" fmla="*/ 397847 h 1881415"/>
                  <a:gd name="connsiteX3" fmla="*/ 93306 w 802433"/>
                  <a:gd name="connsiteY3" fmla="*/ 817725 h 1881415"/>
                  <a:gd name="connsiteX4" fmla="*/ 205273 w 802433"/>
                  <a:gd name="connsiteY4" fmla="*/ 649774 h 1881415"/>
                  <a:gd name="connsiteX5" fmla="*/ 382555 w 802433"/>
                  <a:gd name="connsiteY5" fmla="*/ 1881415 h 1881415"/>
                  <a:gd name="connsiteX6" fmla="*/ 479393 w 802433"/>
                  <a:gd name="connsiteY6" fmla="*/ 1057441 h 1881415"/>
                  <a:gd name="connsiteX7" fmla="*/ 604876 w 802433"/>
                  <a:gd name="connsiteY7" fmla="*/ 1167448 h 1881415"/>
                  <a:gd name="connsiteX8" fmla="*/ 587828 w 802433"/>
                  <a:gd name="connsiteY8" fmla="*/ 696427 h 1881415"/>
                  <a:gd name="connsiteX9" fmla="*/ 755780 w 802433"/>
                  <a:gd name="connsiteY9" fmla="*/ 1022998 h 1881415"/>
                  <a:gd name="connsiteX10" fmla="*/ 690465 w 802433"/>
                  <a:gd name="connsiteY10" fmla="*/ 565798 h 1881415"/>
                  <a:gd name="connsiteX11" fmla="*/ 802433 w 802433"/>
                  <a:gd name="connsiteY11" fmla="*/ 640443 h 1881415"/>
                  <a:gd name="connsiteX12" fmla="*/ 594178 w 802433"/>
                  <a:gd name="connsiteY12" fmla="*/ 0 h 1881415"/>
                  <a:gd name="connsiteX13" fmla="*/ 186612 w 802433"/>
                  <a:gd name="connsiteY13" fmla="*/ 5961 h 1881415"/>
                  <a:gd name="connsiteX0" fmla="*/ 186612 w 802433"/>
                  <a:gd name="connsiteY0" fmla="*/ 5961 h 1881415"/>
                  <a:gd name="connsiteX1" fmla="*/ 0 w 802433"/>
                  <a:gd name="connsiteY1" fmla="*/ 565798 h 1881415"/>
                  <a:gd name="connsiteX2" fmla="*/ 177282 w 802433"/>
                  <a:gd name="connsiteY2" fmla="*/ 397847 h 1881415"/>
                  <a:gd name="connsiteX3" fmla="*/ 93306 w 802433"/>
                  <a:gd name="connsiteY3" fmla="*/ 817725 h 1881415"/>
                  <a:gd name="connsiteX4" fmla="*/ 205273 w 802433"/>
                  <a:gd name="connsiteY4" fmla="*/ 649774 h 1881415"/>
                  <a:gd name="connsiteX5" fmla="*/ 382555 w 802433"/>
                  <a:gd name="connsiteY5" fmla="*/ 1881415 h 1881415"/>
                  <a:gd name="connsiteX6" fmla="*/ 479393 w 802433"/>
                  <a:gd name="connsiteY6" fmla="*/ 1057441 h 1881415"/>
                  <a:gd name="connsiteX7" fmla="*/ 594740 w 802433"/>
                  <a:gd name="connsiteY7" fmla="*/ 1201238 h 1881415"/>
                  <a:gd name="connsiteX8" fmla="*/ 587828 w 802433"/>
                  <a:gd name="connsiteY8" fmla="*/ 696427 h 1881415"/>
                  <a:gd name="connsiteX9" fmla="*/ 755780 w 802433"/>
                  <a:gd name="connsiteY9" fmla="*/ 1022998 h 1881415"/>
                  <a:gd name="connsiteX10" fmla="*/ 690465 w 802433"/>
                  <a:gd name="connsiteY10" fmla="*/ 565798 h 1881415"/>
                  <a:gd name="connsiteX11" fmla="*/ 802433 w 802433"/>
                  <a:gd name="connsiteY11" fmla="*/ 640443 h 1881415"/>
                  <a:gd name="connsiteX12" fmla="*/ 594178 w 802433"/>
                  <a:gd name="connsiteY12" fmla="*/ 0 h 1881415"/>
                  <a:gd name="connsiteX13" fmla="*/ 186612 w 802433"/>
                  <a:gd name="connsiteY13" fmla="*/ 5961 h 1881415"/>
                  <a:gd name="connsiteX0" fmla="*/ 186612 w 802433"/>
                  <a:gd name="connsiteY0" fmla="*/ 5961 h 1881415"/>
                  <a:gd name="connsiteX1" fmla="*/ 0 w 802433"/>
                  <a:gd name="connsiteY1" fmla="*/ 565798 h 1881415"/>
                  <a:gd name="connsiteX2" fmla="*/ 177282 w 802433"/>
                  <a:gd name="connsiteY2" fmla="*/ 397847 h 1881415"/>
                  <a:gd name="connsiteX3" fmla="*/ 93306 w 802433"/>
                  <a:gd name="connsiteY3" fmla="*/ 817725 h 1881415"/>
                  <a:gd name="connsiteX4" fmla="*/ 205273 w 802433"/>
                  <a:gd name="connsiteY4" fmla="*/ 649774 h 1881415"/>
                  <a:gd name="connsiteX5" fmla="*/ 382555 w 802433"/>
                  <a:gd name="connsiteY5" fmla="*/ 1881415 h 1881415"/>
                  <a:gd name="connsiteX6" fmla="*/ 479393 w 802433"/>
                  <a:gd name="connsiteY6" fmla="*/ 1057441 h 1881415"/>
                  <a:gd name="connsiteX7" fmla="*/ 594740 w 802433"/>
                  <a:gd name="connsiteY7" fmla="*/ 1201238 h 1881415"/>
                  <a:gd name="connsiteX8" fmla="*/ 587828 w 802433"/>
                  <a:gd name="connsiteY8" fmla="*/ 696427 h 1881415"/>
                  <a:gd name="connsiteX9" fmla="*/ 772675 w 802433"/>
                  <a:gd name="connsiteY9" fmla="*/ 1002725 h 1881415"/>
                  <a:gd name="connsiteX10" fmla="*/ 690465 w 802433"/>
                  <a:gd name="connsiteY10" fmla="*/ 565798 h 1881415"/>
                  <a:gd name="connsiteX11" fmla="*/ 802433 w 802433"/>
                  <a:gd name="connsiteY11" fmla="*/ 640443 h 1881415"/>
                  <a:gd name="connsiteX12" fmla="*/ 594178 w 802433"/>
                  <a:gd name="connsiteY12" fmla="*/ 0 h 1881415"/>
                  <a:gd name="connsiteX13" fmla="*/ 186612 w 802433"/>
                  <a:gd name="connsiteY13" fmla="*/ 5961 h 1881415"/>
                  <a:gd name="connsiteX0" fmla="*/ 186612 w 802433"/>
                  <a:gd name="connsiteY0" fmla="*/ 5961 h 1786801"/>
                  <a:gd name="connsiteX1" fmla="*/ 0 w 802433"/>
                  <a:gd name="connsiteY1" fmla="*/ 565798 h 1786801"/>
                  <a:gd name="connsiteX2" fmla="*/ 177282 w 802433"/>
                  <a:gd name="connsiteY2" fmla="*/ 397847 h 1786801"/>
                  <a:gd name="connsiteX3" fmla="*/ 93306 w 802433"/>
                  <a:gd name="connsiteY3" fmla="*/ 817725 h 1786801"/>
                  <a:gd name="connsiteX4" fmla="*/ 205273 w 802433"/>
                  <a:gd name="connsiteY4" fmla="*/ 649774 h 1786801"/>
                  <a:gd name="connsiteX5" fmla="*/ 385934 w 802433"/>
                  <a:gd name="connsiteY5" fmla="*/ 1786801 h 1786801"/>
                  <a:gd name="connsiteX6" fmla="*/ 479393 w 802433"/>
                  <a:gd name="connsiteY6" fmla="*/ 1057441 h 1786801"/>
                  <a:gd name="connsiteX7" fmla="*/ 594740 w 802433"/>
                  <a:gd name="connsiteY7" fmla="*/ 1201238 h 1786801"/>
                  <a:gd name="connsiteX8" fmla="*/ 587828 w 802433"/>
                  <a:gd name="connsiteY8" fmla="*/ 696427 h 1786801"/>
                  <a:gd name="connsiteX9" fmla="*/ 772675 w 802433"/>
                  <a:gd name="connsiteY9" fmla="*/ 1002725 h 1786801"/>
                  <a:gd name="connsiteX10" fmla="*/ 690465 w 802433"/>
                  <a:gd name="connsiteY10" fmla="*/ 565798 h 1786801"/>
                  <a:gd name="connsiteX11" fmla="*/ 802433 w 802433"/>
                  <a:gd name="connsiteY11" fmla="*/ 640443 h 1786801"/>
                  <a:gd name="connsiteX12" fmla="*/ 594178 w 802433"/>
                  <a:gd name="connsiteY12" fmla="*/ 0 h 1786801"/>
                  <a:gd name="connsiteX13" fmla="*/ 186612 w 802433"/>
                  <a:gd name="connsiteY13" fmla="*/ 5961 h 1786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2433" h="1786801">
                    <a:moveTo>
                      <a:pt x="186612" y="5961"/>
                    </a:moveTo>
                    <a:lnTo>
                      <a:pt x="0" y="565798"/>
                    </a:lnTo>
                    <a:lnTo>
                      <a:pt x="177282" y="397847"/>
                    </a:lnTo>
                    <a:lnTo>
                      <a:pt x="93306" y="817725"/>
                    </a:lnTo>
                    <a:lnTo>
                      <a:pt x="205273" y="649774"/>
                    </a:lnTo>
                    <a:lnTo>
                      <a:pt x="385934" y="1786801"/>
                    </a:lnTo>
                    <a:lnTo>
                      <a:pt x="479393" y="1057441"/>
                    </a:lnTo>
                    <a:lnTo>
                      <a:pt x="594740" y="1201238"/>
                    </a:lnTo>
                    <a:lnTo>
                      <a:pt x="587828" y="696427"/>
                    </a:lnTo>
                    <a:lnTo>
                      <a:pt x="772675" y="1002725"/>
                    </a:lnTo>
                    <a:lnTo>
                      <a:pt x="690465" y="565798"/>
                    </a:lnTo>
                    <a:lnTo>
                      <a:pt x="802433" y="640443"/>
                    </a:lnTo>
                    <a:lnTo>
                      <a:pt x="594178" y="0"/>
                    </a:lnTo>
                    <a:lnTo>
                      <a:pt x="186612" y="5961"/>
                    </a:lnTo>
                    <a:close/>
                  </a:path>
                </a:pathLst>
              </a:custGeom>
              <a:solidFill>
                <a:srgbClr val="D83B01">
                  <a:lumMod val="40000"/>
                  <a:lumOff val="60000"/>
                </a:srgb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353" b="0" i="0" u="none" strike="noStrike" kern="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310" name="Group 309"/>
            <p:cNvGrpSpPr/>
            <p:nvPr/>
          </p:nvGrpSpPr>
          <p:grpSpPr>
            <a:xfrm>
              <a:off x="10678408" y="1115686"/>
              <a:ext cx="1435010" cy="1757031"/>
              <a:chOff x="7826375" y="2217738"/>
              <a:chExt cx="1131888" cy="1385888"/>
            </a:xfrm>
            <a:solidFill>
              <a:srgbClr val="D83B01"/>
            </a:solidFill>
          </p:grpSpPr>
          <p:sp>
            <p:nvSpPr>
              <p:cNvPr id="481" name="Freeform 58"/>
              <p:cNvSpPr>
                <a:spLocks/>
              </p:cNvSpPr>
              <p:nvPr/>
            </p:nvSpPr>
            <p:spPr bwMode="auto">
              <a:xfrm>
                <a:off x="8656638" y="2935288"/>
                <a:ext cx="301625" cy="668338"/>
              </a:xfrm>
              <a:custGeom>
                <a:avLst/>
                <a:gdLst>
                  <a:gd name="T0" fmla="*/ 12 w 72"/>
                  <a:gd name="T1" fmla="*/ 0 h 160"/>
                  <a:gd name="T2" fmla="*/ 0 w 72"/>
                  <a:gd name="T3" fmla="*/ 76 h 160"/>
                  <a:gd name="T4" fmla="*/ 57 w 72"/>
                  <a:gd name="T5" fmla="*/ 151 h 160"/>
                  <a:gd name="T6" fmla="*/ 67 w 72"/>
                  <a:gd name="T7" fmla="*/ 151 h 160"/>
                  <a:gd name="T8" fmla="*/ 12 w 72"/>
                  <a:gd name="T9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60">
                    <a:moveTo>
                      <a:pt x="12" y="0"/>
                    </a:moveTo>
                    <a:cubicBezTo>
                      <a:pt x="11" y="24"/>
                      <a:pt x="8" y="49"/>
                      <a:pt x="0" y="76"/>
                    </a:cubicBezTo>
                    <a:cubicBezTo>
                      <a:pt x="45" y="82"/>
                      <a:pt x="56" y="147"/>
                      <a:pt x="57" y="151"/>
                    </a:cubicBezTo>
                    <a:cubicBezTo>
                      <a:pt x="58" y="160"/>
                      <a:pt x="67" y="157"/>
                      <a:pt x="67" y="151"/>
                    </a:cubicBezTo>
                    <a:cubicBezTo>
                      <a:pt x="72" y="50"/>
                      <a:pt x="21" y="7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2" name="Freeform 59"/>
              <p:cNvSpPr>
                <a:spLocks/>
              </p:cNvSpPr>
              <p:nvPr/>
            </p:nvSpPr>
            <p:spPr bwMode="auto">
              <a:xfrm>
                <a:off x="7826375" y="2940051"/>
                <a:ext cx="298450" cy="663575"/>
              </a:xfrm>
              <a:custGeom>
                <a:avLst/>
                <a:gdLst>
                  <a:gd name="T0" fmla="*/ 59 w 71"/>
                  <a:gd name="T1" fmla="*/ 0 h 159"/>
                  <a:gd name="T2" fmla="*/ 5 w 71"/>
                  <a:gd name="T3" fmla="*/ 150 h 159"/>
                  <a:gd name="T4" fmla="*/ 15 w 71"/>
                  <a:gd name="T5" fmla="*/ 150 h 159"/>
                  <a:gd name="T6" fmla="*/ 71 w 71"/>
                  <a:gd name="T7" fmla="*/ 75 h 159"/>
                  <a:gd name="T8" fmla="*/ 59 w 71"/>
                  <a:gd name="T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159">
                    <a:moveTo>
                      <a:pt x="59" y="0"/>
                    </a:moveTo>
                    <a:cubicBezTo>
                      <a:pt x="48" y="9"/>
                      <a:pt x="0" y="52"/>
                      <a:pt x="5" y="150"/>
                    </a:cubicBezTo>
                    <a:cubicBezTo>
                      <a:pt x="5" y="156"/>
                      <a:pt x="14" y="159"/>
                      <a:pt x="15" y="150"/>
                    </a:cubicBezTo>
                    <a:cubicBezTo>
                      <a:pt x="16" y="146"/>
                      <a:pt x="27" y="82"/>
                      <a:pt x="71" y="75"/>
                    </a:cubicBezTo>
                    <a:cubicBezTo>
                      <a:pt x="63" y="49"/>
                      <a:pt x="60" y="23"/>
                      <a:pt x="5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3" name="Freeform 60"/>
              <p:cNvSpPr>
                <a:spLocks/>
              </p:cNvSpPr>
              <p:nvPr/>
            </p:nvSpPr>
            <p:spPr bwMode="auto">
              <a:xfrm>
                <a:off x="8350250" y="2914651"/>
                <a:ext cx="84138" cy="673100"/>
              </a:xfrm>
              <a:custGeom>
                <a:avLst/>
                <a:gdLst>
                  <a:gd name="T0" fmla="*/ 10 w 20"/>
                  <a:gd name="T1" fmla="*/ 0 h 161"/>
                  <a:gd name="T2" fmla="*/ 10 w 20"/>
                  <a:gd name="T3" fmla="*/ 0 h 161"/>
                  <a:gd name="T4" fmla="*/ 10 w 20"/>
                  <a:gd name="T5" fmla="*/ 0 h 161"/>
                  <a:gd name="T6" fmla="*/ 10 w 20"/>
                  <a:gd name="T7" fmla="*/ 0 h 161"/>
                  <a:gd name="T8" fmla="*/ 10 w 20"/>
                  <a:gd name="T9" fmla="*/ 0 h 161"/>
                  <a:gd name="T10" fmla="*/ 0 w 20"/>
                  <a:gd name="T11" fmla="*/ 11 h 161"/>
                  <a:gd name="T12" fmla="*/ 0 w 20"/>
                  <a:gd name="T13" fmla="*/ 149 h 161"/>
                  <a:gd name="T14" fmla="*/ 10 w 20"/>
                  <a:gd name="T15" fmla="*/ 161 h 161"/>
                  <a:gd name="T16" fmla="*/ 10 w 20"/>
                  <a:gd name="T17" fmla="*/ 161 h 161"/>
                  <a:gd name="T18" fmla="*/ 10 w 20"/>
                  <a:gd name="T19" fmla="*/ 161 h 161"/>
                  <a:gd name="T20" fmla="*/ 10 w 20"/>
                  <a:gd name="T21" fmla="*/ 161 h 161"/>
                  <a:gd name="T22" fmla="*/ 10 w 20"/>
                  <a:gd name="T23" fmla="*/ 161 h 161"/>
                  <a:gd name="T24" fmla="*/ 20 w 20"/>
                  <a:gd name="T25" fmla="*/ 149 h 161"/>
                  <a:gd name="T26" fmla="*/ 20 w 20"/>
                  <a:gd name="T27" fmla="*/ 11 h 161"/>
                  <a:gd name="T28" fmla="*/ 10 w 20"/>
                  <a:gd name="T2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161">
                    <a:moveTo>
                      <a:pt x="10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11"/>
                      <a:pt x="0" y="11"/>
                    </a:cubicBezTo>
                    <a:cubicBezTo>
                      <a:pt x="0" y="11"/>
                      <a:pt x="0" y="144"/>
                      <a:pt x="0" y="149"/>
                    </a:cubicBezTo>
                    <a:cubicBezTo>
                      <a:pt x="0" y="154"/>
                      <a:pt x="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10" y="161"/>
                      <a:pt x="10" y="161"/>
                      <a:pt x="10" y="161"/>
                    </a:cubicBezTo>
                    <a:cubicBezTo>
                      <a:pt x="20" y="161"/>
                      <a:pt x="20" y="154"/>
                      <a:pt x="20" y="149"/>
                    </a:cubicBezTo>
                    <a:cubicBezTo>
                      <a:pt x="20" y="144"/>
                      <a:pt x="20" y="11"/>
                      <a:pt x="20" y="11"/>
                    </a:cubicBezTo>
                    <a:cubicBezTo>
                      <a:pt x="20" y="11"/>
                      <a:pt x="20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4" name="Freeform 61"/>
              <p:cNvSpPr>
                <a:spLocks/>
              </p:cNvSpPr>
              <p:nvPr/>
            </p:nvSpPr>
            <p:spPr bwMode="auto">
              <a:xfrm>
                <a:off x="8258175" y="2217738"/>
                <a:ext cx="268288" cy="153988"/>
              </a:xfrm>
              <a:custGeom>
                <a:avLst/>
                <a:gdLst>
                  <a:gd name="T0" fmla="*/ 64 w 64"/>
                  <a:gd name="T1" fmla="*/ 37 h 37"/>
                  <a:gd name="T2" fmla="*/ 32 w 64"/>
                  <a:gd name="T3" fmla="*/ 0 h 37"/>
                  <a:gd name="T4" fmla="*/ 32 w 64"/>
                  <a:gd name="T5" fmla="*/ 0 h 37"/>
                  <a:gd name="T6" fmla="*/ 0 w 64"/>
                  <a:gd name="T7" fmla="*/ 37 h 37"/>
                  <a:gd name="T8" fmla="*/ 64 w 64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37">
                    <a:moveTo>
                      <a:pt x="64" y="37"/>
                    </a:moveTo>
                    <a:cubicBezTo>
                      <a:pt x="51" y="14"/>
                      <a:pt x="38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6" y="0"/>
                      <a:pt x="13" y="14"/>
                      <a:pt x="0" y="37"/>
                    </a:cubicBezTo>
                    <a:lnTo>
                      <a:pt x="6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5" name="Freeform 62"/>
              <p:cNvSpPr>
                <a:spLocks noEditPoints="1"/>
              </p:cNvSpPr>
              <p:nvPr/>
            </p:nvSpPr>
            <p:spPr bwMode="auto">
              <a:xfrm>
                <a:off x="8043863" y="2409826"/>
                <a:ext cx="696913" cy="901700"/>
              </a:xfrm>
              <a:custGeom>
                <a:avLst/>
                <a:gdLst>
                  <a:gd name="T0" fmla="*/ 120 w 166"/>
                  <a:gd name="T1" fmla="*/ 0 h 216"/>
                  <a:gd name="T2" fmla="*/ 46 w 166"/>
                  <a:gd name="T3" fmla="*/ 0 h 216"/>
                  <a:gd name="T4" fmla="*/ 32 w 166"/>
                  <a:gd name="T5" fmla="*/ 216 h 216"/>
                  <a:gd name="T6" fmla="*/ 65 w 166"/>
                  <a:gd name="T7" fmla="*/ 216 h 216"/>
                  <a:gd name="T8" fmla="*/ 65 w 166"/>
                  <a:gd name="T9" fmla="*/ 132 h 216"/>
                  <a:gd name="T10" fmla="*/ 70 w 166"/>
                  <a:gd name="T11" fmla="*/ 118 h 216"/>
                  <a:gd name="T12" fmla="*/ 83 w 166"/>
                  <a:gd name="T13" fmla="*/ 113 h 216"/>
                  <a:gd name="T14" fmla="*/ 96 w 166"/>
                  <a:gd name="T15" fmla="*/ 118 h 216"/>
                  <a:gd name="T16" fmla="*/ 101 w 166"/>
                  <a:gd name="T17" fmla="*/ 132 h 216"/>
                  <a:gd name="T18" fmla="*/ 101 w 166"/>
                  <a:gd name="T19" fmla="*/ 216 h 216"/>
                  <a:gd name="T20" fmla="*/ 134 w 166"/>
                  <a:gd name="T21" fmla="*/ 216 h 216"/>
                  <a:gd name="T22" fmla="*/ 120 w 166"/>
                  <a:gd name="T23" fmla="*/ 0 h 216"/>
                  <a:gd name="T24" fmla="*/ 83 w 166"/>
                  <a:gd name="T25" fmla="*/ 75 h 216"/>
                  <a:gd name="T26" fmla="*/ 57 w 166"/>
                  <a:gd name="T27" fmla="*/ 49 h 216"/>
                  <a:gd name="T28" fmla="*/ 83 w 166"/>
                  <a:gd name="T29" fmla="*/ 23 h 216"/>
                  <a:gd name="T30" fmla="*/ 109 w 166"/>
                  <a:gd name="T31" fmla="*/ 49 h 216"/>
                  <a:gd name="T32" fmla="*/ 83 w 166"/>
                  <a:gd name="T33" fmla="*/ 75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6" h="216">
                    <a:moveTo>
                      <a:pt x="120" y="0"/>
                    </a:moveTo>
                    <a:cubicBezTo>
                      <a:pt x="46" y="0"/>
                      <a:pt x="46" y="0"/>
                      <a:pt x="46" y="0"/>
                    </a:cubicBezTo>
                    <a:cubicBezTo>
                      <a:pt x="21" y="47"/>
                      <a:pt x="0" y="126"/>
                      <a:pt x="32" y="216"/>
                    </a:cubicBezTo>
                    <a:cubicBezTo>
                      <a:pt x="32" y="216"/>
                      <a:pt x="50" y="216"/>
                      <a:pt x="65" y="216"/>
                    </a:cubicBezTo>
                    <a:cubicBezTo>
                      <a:pt x="65" y="132"/>
                      <a:pt x="65" y="132"/>
                      <a:pt x="65" y="132"/>
                    </a:cubicBezTo>
                    <a:cubicBezTo>
                      <a:pt x="65" y="130"/>
                      <a:pt x="65" y="123"/>
                      <a:pt x="70" y="118"/>
                    </a:cubicBezTo>
                    <a:cubicBezTo>
                      <a:pt x="72" y="116"/>
                      <a:pt x="77" y="113"/>
                      <a:pt x="83" y="113"/>
                    </a:cubicBezTo>
                    <a:cubicBezTo>
                      <a:pt x="90" y="113"/>
                      <a:pt x="94" y="116"/>
                      <a:pt x="96" y="118"/>
                    </a:cubicBezTo>
                    <a:cubicBezTo>
                      <a:pt x="101" y="123"/>
                      <a:pt x="101" y="130"/>
                      <a:pt x="101" y="132"/>
                    </a:cubicBezTo>
                    <a:cubicBezTo>
                      <a:pt x="101" y="216"/>
                      <a:pt x="101" y="216"/>
                      <a:pt x="101" y="216"/>
                    </a:cubicBezTo>
                    <a:cubicBezTo>
                      <a:pt x="116" y="216"/>
                      <a:pt x="134" y="216"/>
                      <a:pt x="134" y="216"/>
                    </a:cubicBezTo>
                    <a:cubicBezTo>
                      <a:pt x="166" y="126"/>
                      <a:pt x="145" y="47"/>
                      <a:pt x="120" y="0"/>
                    </a:cubicBezTo>
                    <a:close/>
                    <a:moveTo>
                      <a:pt x="83" y="75"/>
                    </a:moveTo>
                    <a:cubicBezTo>
                      <a:pt x="69" y="75"/>
                      <a:pt x="57" y="63"/>
                      <a:pt x="57" y="49"/>
                    </a:cubicBezTo>
                    <a:cubicBezTo>
                      <a:pt x="57" y="35"/>
                      <a:pt x="69" y="23"/>
                      <a:pt x="83" y="23"/>
                    </a:cubicBezTo>
                    <a:cubicBezTo>
                      <a:pt x="97" y="23"/>
                      <a:pt x="109" y="35"/>
                      <a:pt x="109" y="49"/>
                    </a:cubicBezTo>
                    <a:cubicBezTo>
                      <a:pt x="109" y="63"/>
                      <a:pt x="97" y="75"/>
                      <a:pt x="8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6" name="Freeform 63"/>
              <p:cNvSpPr>
                <a:spLocks/>
              </p:cNvSpPr>
              <p:nvPr/>
            </p:nvSpPr>
            <p:spPr bwMode="auto">
              <a:xfrm>
                <a:off x="8174038" y="3340101"/>
                <a:ext cx="142875" cy="34925"/>
              </a:xfrm>
              <a:custGeom>
                <a:avLst/>
                <a:gdLst>
                  <a:gd name="T0" fmla="*/ 34 w 34"/>
                  <a:gd name="T1" fmla="*/ 0 h 8"/>
                  <a:gd name="T2" fmla="*/ 5 w 34"/>
                  <a:gd name="T3" fmla="*/ 0 h 8"/>
                  <a:gd name="T4" fmla="*/ 0 w 34"/>
                  <a:gd name="T5" fmla="*/ 4 h 8"/>
                  <a:gd name="T6" fmla="*/ 5 w 34"/>
                  <a:gd name="T7" fmla="*/ 8 h 8"/>
                  <a:gd name="T8" fmla="*/ 34 w 34"/>
                  <a:gd name="T9" fmla="*/ 8 h 8"/>
                  <a:gd name="T10" fmla="*/ 34 w 34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8">
                    <a:moveTo>
                      <a:pt x="34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5" y="8"/>
                    </a:cubicBezTo>
                    <a:cubicBezTo>
                      <a:pt x="34" y="8"/>
                      <a:pt x="34" y="8"/>
                      <a:pt x="34" y="8"/>
                    </a:cubicBezTo>
                    <a:lnTo>
                      <a:pt x="3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7" name="Freeform 64"/>
              <p:cNvSpPr>
                <a:spLocks/>
              </p:cNvSpPr>
              <p:nvPr/>
            </p:nvSpPr>
            <p:spPr bwMode="auto">
              <a:xfrm>
                <a:off x="8467725" y="3340101"/>
                <a:ext cx="142875" cy="34925"/>
              </a:xfrm>
              <a:custGeom>
                <a:avLst/>
                <a:gdLst>
                  <a:gd name="T0" fmla="*/ 30 w 34"/>
                  <a:gd name="T1" fmla="*/ 0 h 8"/>
                  <a:gd name="T2" fmla="*/ 0 w 34"/>
                  <a:gd name="T3" fmla="*/ 0 h 8"/>
                  <a:gd name="T4" fmla="*/ 0 w 34"/>
                  <a:gd name="T5" fmla="*/ 8 h 8"/>
                  <a:gd name="T6" fmla="*/ 30 w 34"/>
                  <a:gd name="T7" fmla="*/ 8 h 8"/>
                  <a:gd name="T8" fmla="*/ 34 w 34"/>
                  <a:gd name="T9" fmla="*/ 4 h 8"/>
                  <a:gd name="T10" fmla="*/ 30 w 34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8">
                    <a:moveTo>
                      <a:pt x="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2" y="8"/>
                      <a:pt x="34" y="6"/>
                      <a:pt x="34" y="4"/>
                    </a:cubicBezTo>
                    <a:cubicBezTo>
                      <a:pt x="34" y="2"/>
                      <a:pt x="32" y="0"/>
                      <a:pt x="3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11" name="Arc 310"/>
            <p:cNvSpPr/>
            <p:nvPr/>
          </p:nvSpPr>
          <p:spPr>
            <a:xfrm>
              <a:off x="9904561" y="944880"/>
              <a:ext cx="3072785" cy="3072785"/>
            </a:xfrm>
            <a:prstGeom prst="arc">
              <a:avLst>
                <a:gd name="adj1" fmla="val 2996613"/>
                <a:gd name="adj2" fmla="val 18605175"/>
              </a:avLst>
            </a:prstGeom>
            <a:noFill/>
            <a:ln w="9525" cap="flat" cmpd="sng" algn="ctr">
              <a:solidFill>
                <a:srgbClr val="505050"/>
              </a:solidFill>
              <a:prstDash val="sysDot"/>
              <a:headEnd type="none"/>
              <a:tailEnd type="none"/>
            </a:ln>
            <a:effectLst/>
          </p:spPr>
          <p:txBody>
            <a:bodyPr rtlCol="0" anchor="ctr"/>
            <a:lstStyle/>
            <a:p>
              <a:pPr marL="0" marR="0" lvl="0" indent="0" algn="ctr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2" name="Oval 311"/>
            <p:cNvSpPr/>
            <p:nvPr/>
          </p:nvSpPr>
          <p:spPr bwMode="auto">
            <a:xfrm>
              <a:off x="8160654" y="5045267"/>
              <a:ext cx="186698" cy="186698"/>
            </a:xfrm>
            <a:prstGeom prst="ellipse">
              <a:avLst/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353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3" name="Oval 312"/>
            <p:cNvSpPr/>
            <p:nvPr/>
          </p:nvSpPr>
          <p:spPr bwMode="auto">
            <a:xfrm>
              <a:off x="6057534" y="5060507"/>
              <a:ext cx="186698" cy="186698"/>
            </a:xfrm>
            <a:prstGeom prst="ellipse">
              <a:avLst/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353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4" name="Oval 313"/>
            <p:cNvSpPr/>
            <p:nvPr/>
          </p:nvSpPr>
          <p:spPr bwMode="auto">
            <a:xfrm>
              <a:off x="4285884" y="6036819"/>
              <a:ext cx="186698" cy="186698"/>
            </a:xfrm>
            <a:prstGeom prst="ellipse">
              <a:avLst/>
            </a:prstGeom>
            <a:solidFill>
              <a:srgbClr val="505050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353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5" name="Freeform 314"/>
            <p:cNvSpPr/>
            <p:nvPr/>
          </p:nvSpPr>
          <p:spPr>
            <a:xfrm rot="19324792">
              <a:off x="8830231" y="4235484"/>
              <a:ext cx="500605" cy="521434"/>
            </a:xfrm>
            <a:custGeom>
              <a:avLst/>
              <a:gdLst>
                <a:gd name="connsiteX0" fmla="*/ 818317 w 1900290"/>
                <a:gd name="connsiteY0" fmla="*/ 263524 h 2183187"/>
                <a:gd name="connsiteX1" fmla="*/ 1346954 w 1900290"/>
                <a:gd name="connsiteY1" fmla="*/ 358774 h 2183187"/>
                <a:gd name="connsiteX2" fmla="*/ 1489829 w 1900290"/>
                <a:gd name="connsiteY2" fmla="*/ 484980 h 2183187"/>
                <a:gd name="connsiteX3" fmla="*/ 1413629 w 1900290"/>
                <a:gd name="connsiteY3" fmla="*/ 882649 h 2183187"/>
                <a:gd name="connsiteX4" fmla="*/ 1830348 w 1900290"/>
                <a:gd name="connsiteY4" fmla="*/ 977899 h 2183187"/>
                <a:gd name="connsiteX5" fmla="*/ 1813679 w 1900290"/>
                <a:gd name="connsiteY5" fmla="*/ 1163636 h 2183187"/>
                <a:gd name="connsiteX6" fmla="*/ 1201698 w 1900290"/>
                <a:gd name="connsiteY6" fmla="*/ 987424 h 2183187"/>
                <a:gd name="connsiteX7" fmla="*/ 1177885 w 1900290"/>
                <a:gd name="connsiteY7" fmla="*/ 887411 h 2183187"/>
                <a:gd name="connsiteX8" fmla="*/ 1123117 w 1900290"/>
                <a:gd name="connsiteY8" fmla="*/ 851692 h 2183187"/>
                <a:gd name="connsiteX9" fmla="*/ 968335 w 1900290"/>
                <a:gd name="connsiteY9" fmla="*/ 1025524 h 2183187"/>
                <a:gd name="connsiteX10" fmla="*/ 1215985 w 1900290"/>
                <a:gd name="connsiteY10" fmla="*/ 1239836 h 2183187"/>
                <a:gd name="connsiteX11" fmla="*/ 1239798 w 1900290"/>
                <a:gd name="connsiteY11" fmla="*/ 1339849 h 2183187"/>
                <a:gd name="connsiteX12" fmla="*/ 1223792 w 1900290"/>
                <a:gd name="connsiteY12" fmla="*/ 2180832 h 2183187"/>
                <a:gd name="connsiteX13" fmla="*/ 675442 w 1900290"/>
                <a:gd name="connsiteY13" fmla="*/ 1625599 h 2183187"/>
                <a:gd name="connsiteX14" fmla="*/ 1004054 w 1900290"/>
                <a:gd name="connsiteY14" fmla="*/ 1273174 h 2183187"/>
                <a:gd name="connsiteX15" fmla="*/ 780217 w 1900290"/>
                <a:gd name="connsiteY15" fmla="*/ 1070767 h 2183187"/>
                <a:gd name="connsiteX16" fmla="*/ 532567 w 1900290"/>
                <a:gd name="connsiteY16" fmla="*/ 1254124 h 2183187"/>
                <a:gd name="connsiteX17" fmla="*/ 399217 w 1900290"/>
                <a:gd name="connsiteY17" fmla="*/ 1211261 h 2183187"/>
                <a:gd name="connsiteX18" fmla="*/ 3929 w 1900290"/>
                <a:gd name="connsiteY18" fmla="*/ 832642 h 2183187"/>
                <a:gd name="connsiteX19" fmla="*/ 127754 w 1900290"/>
                <a:gd name="connsiteY19" fmla="*/ 746917 h 2183187"/>
                <a:gd name="connsiteX20" fmla="*/ 470654 w 1900290"/>
                <a:gd name="connsiteY20" fmla="*/ 1061242 h 2183187"/>
                <a:gd name="connsiteX21" fmla="*/ 620673 w 1900290"/>
                <a:gd name="connsiteY21" fmla="*/ 977899 h 2183187"/>
                <a:gd name="connsiteX22" fmla="*/ 668298 w 1900290"/>
                <a:gd name="connsiteY22" fmla="*/ 913605 h 2183187"/>
                <a:gd name="connsiteX23" fmla="*/ 663535 w 1900290"/>
                <a:gd name="connsiteY23" fmla="*/ 815974 h 2183187"/>
                <a:gd name="connsiteX24" fmla="*/ 1023104 w 1900290"/>
                <a:gd name="connsiteY24" fmla="*/ 496886 h 2183187"/>
                <a:gd name="connsiteX25" fmla="*/ 980242 w 1900290"/>
                <a:gd name="connsiteY25" fmla="*/ 442117 h 2183187"/>
                <a:gd name="connsiteX26" fmla="*/ 865942 w 1900290"/>
                <a:gd name="connsiteY26" fmla="*/ 427830 h 2183187"/>
                <a:gd name="connsiteX27" fmla="*/ 458748 w 1900290"/>
                <a:gd name="connsiteY27" fmla="*/ 651667 h 2183187"/>
                <a:gd name="connsiteX28" fmla="*/ 361117 w 1900290"/>
                <a:gd name="connsiteY28" fmla="*/ 513555 h 2183187"/>
                <a:gd name="connsiteX29" fmla="*/ 818317 w 1900290"/>
                <a:gd name="connsiteY29" fmla="*/ 263524 h 2183187"/>
                <a:gd name="connsiteX30" fmla="*/ 1586666 w 1900290"/>
                <a:gd name="connsiteY30" fmla="*/ 0 h 2183187"/>
                <a:gd name="connsiteX31" fmla="*/ 1786691 w 1900290"/>
                <a:gd name="connsiteY31" fmla="*/ 200025 h 2183187"/>
                <a:gd name="connsiteX32" fmla="*/ 1586666 w 1900290"/>
                <a:gd name="connsiteY32" fmla="*/ 400050 h 2183187"/>
                <a:gd name="connsiteX33" fmla="*/ 1386641 w 1900290"/>
                <a:gd name="connsiteY33" fmla="*/ 200025 h 2183187"/>
                <a:gd name="connsiteX34" fmla="*/ 1586666 w 1900290"/>
                <a:gd name="connsiteY34" fmla="*/ 0 h 2183187"/>
                <a:gd name="connsiteX0" fmla="*/ 818317 w 1900290"/>
                <a:gd name="connsiteY0" fmla="*/ 263524 h 2222539"/>
                <a:gd name="connsiteX1" fmla="*/ 1346954 w 1900290"/>
                <a:gd name="connsiteY1" fmla="*/ 358774 h 2222539"/>
                <a:gd name="connsiteX2" fmla="*/ 1489829 w 1900290"/>
                <a:gd name="connsiteY2" fmla="*/ 484980 h 2222539"/>
                <a:gd name="connsiteX3" fmla="*/ 1413629 w 1900290"/>
                <a:gd name="connsiteY3" fmla="*/ 882649 h 2222539"/>
                <a:gd name="connsiteX4" fmla="*/ 1830348 w 1900290"/>
                <a:gd name="connsiteY4" fmla="*/ 977899 h 2222539"/>
                <a:gd name="connsiteX5" fmla="*/ 1813679 w 1900290"/>
                <a:gd name="connsiteY5" fmla="*/ 1163636 h 2222539"/>
                <a:gd name="connsiteX6" fmla="*/ 1201698 w 1900290"/>
                <a:gd name="connsiteY6" fmla="*/ 987424 h 2222539"/>
                <a:gd name="connsiteX7" fmla="*/ 1177885 w 1900290"/>
                <a:gd name="connsiteY7" fmla="*/ 887411 h 2222539"/>
                <a:gd name="connsiteX8" fmla="*/ 1123117 w 1900290"/>
                <a:gd name="connsiteY8" fmla="*/ 851692 h 2222539"/>
                <a:gd name="connsiteX9" fmla="*/ 968335 w 1900290"/>
                <a:gd name="connsiteY9" fmla="*/ 1025524 h 2222539"/>
                <a:gd name="connsiteX10" fmla="*/ 1215985 w 1900290"/>
                <a:gd name="connsiteY10" fmla="*/ 1239836 h 2222539"/>
                <a:gd name="connsiteX11" fmla="*/ 1239798 w 1900290"/>
                <a:gd name="connsiteY11" fmla="*/ 1339849 h 2222539"/>
                <a:gd name="connsiteX12" fmla="*/ 1223792 w 1900290"/>
                <a:gd name="connsiteY12" fmla="*/ 2180832 h 2222539"/>
                <a:gd name="connsiteX13" fmla="*/ 1072533 w 1900290"/>
                <a:gd name="connsiteY13" fmla="*/ 2154178 h 2222539"/>
                <a:gd name="connsiteX14" fmla="*/ 675442 w 1900290"/>
                <a:gd name="connsiteY14" fmla="*/ 1625599 h 2222539"/>
                <a:gd name="connsiteX15" fmla="*/ 1004054 w 1900290"/>
                <a:gd name="connsiteY15" fmla="*/ 1273174 h 2222539"/>
                <a:gd name="connsiteX16" fmla="*/ 780217 w 1900290"/>
                <a:gd name="connsiteY16" fmla="*/ 1070767 h 2222539"/>
                <a:gd name="connsiteX17" fmla="*/ 532567 w 1900290"/>
                <a:gd name="connsiteY17" fmla="*/ 1254124 h 2222539"/>
                <a:gd name="connsiteX18" fmla="*/ 399217 w 1900290"/>
                <a:gd name="connsiteY18" fmla="*/ 1211261 h 2222539"/>
                <a:gd name="connsiteX19" fmla="*/ 3929 w 1900290"/>
                <a:gd name="connsiteY19" fmla="*/ 832642 h 2222539"/>
                <a:gd name="connsiteX20" fmla="*/ 127754 w 1900290"/>
                <a:gd name="connsiteY20" fmla="*/ 746917 h 2222539"/>
                <a:gd name="connsiteX21" fmla="*/ 470654 w 1900290"/>
                <a:gd name="connsiteY21" fmla="*/ 1061242 h 2222539"/>
                <a:gd name="connsiteX22" fmla="*/ 620673 w 1900290"/>
                <a:gd name="connsiteY22" fmla="*/ 977899 h 2222539"/>
                <a:gd name="connsiteX23" fmla="*/ 668298 w 1900290"/>
                <a:gd name="connsiteY23" fmla="*/ 913605 h 2222539"/>
                <a:gd name="connsiteX24" fmla="*/ 663535 w 1900290"/>
                <a:gd name="connsiteY24" fmla="*/ 815974 h 2222539"/>
                <a:gd name="connsiteX25" fmla="*/ 1023104 w 1900290"/>
                <a:gd name="connsiteY25" fmla="*/ 496886 h 2222539"/>
                <a:gd name="connsiteX26" fmla="*/ 980242 w 1900290"/>
                <a:gd name="connsiteY26" fmla="*/ 442117 h 2222539"/>
                <a:gd name="connsiteX27" fmla="*/ 865942 w 1900290"/>
                <a:gd name="connsiteY27" fmla="*/ 427830 h 2222539"/>
                <a:gd name="connsiteX28" fmla="*/ 458748 w 1900290"/>
                <a:gd name="connsiteY28" fmla="*/ 651667 h 2222539"/>
                <a:gd name="connsiteX29" fmla="*/ 361117 w 1900290"/>
                <a:gd name="connsiteY29" fmla="*/ 513555 h 2222539"/>
                <a:gd name="connsiteX30" fmla="*/ 818317 w 1900290"/>
                <a:gd name="connsiteY30" fmla="*/ 263524 h 2222539"/>
                <a:gd name="connsiteX31" fmla="*/ 1586666 w 1900290"/>
                <a:gd name="connsiteY31" fmla="*/ 0 h 2222539"/>
                <a:gd name="connsiteX32" fmla="*/ 1786691 w 1900290"/>
                <a:gd name="connsiteY32" fmla="*/ 200025 h 2222539"/>
                <a:gd name="connsiteX33" fmla="*/ 1586666 w 1900290"/>
                <a:gd name="connsiteY33" fmla="*/ 400050 h 2222539"/>
                <a:gd name="connsiteX34" fmla="*/ 1386641 w 1900290"/>
                <a:gd name="connsiteY34" fmla="*/ 200025 h 2222539"/>
                <a:gd name="connsiteX35" fmla="*/ 1586666 w 1900290"/>
                <a:gd name="connsiteY35" fmla="*/ 0 h 2222539"/>
                <a:gd name="connsiteX0" fmla="*/ 818317 w 1900290"/>
                <a:gd name="connsiteY0" fmla="*/ 263524 h 2245282"/>
                <a:gd name="connsiteX1" fmla="*/ 1346954 w 1900290"/>
                <a:gd name="connsiteY1" fmla="*/ 358774 h 2245282"/>
                <a:gd name="connsiteX2" fmla="*/ 1489829 w 1900290"/>
                <a:gd name="connsiteY2" fmla="*/ 484980 h 2245282"/>
                <a:gd name="connsiteX3" fmla="*/ 1413629 w 1900290"/>
                <a:gd name="connsiteY3" fmla="*/ 882649 h 2245282"/>
                <a:gd name="connsiteX4" fmla="*/ 1830348 w 1900290"/>
                <a:gd name="connsiteY4" fmla="*/ 977899 h 2245282"/>
                <a:gd name="connsiteX5" fmla="*/ 1813679 w 1900290"/>
                <a:gd name="connsiteY5" fmla="*/ 1163636 h 2245282"/>
                <a:gd name="connsiteX6" fmla="*/ 1201698 w 1900290"/>
                <a:gd name="connsiteY6" fmla="*/ 987424 h 2245282"/>
                <a:gd name="connsiteX7" fmla="*/ 1177885 w 1900290"/>
                <a:gd name="connsiteY7" fmla="*/ 887411 h 2245282"/>
                <a:gd name="connsiteX8" fmla="*/ 1123117 w 1900290"/>
                <a:gd name="connsiteY8" fmla="*/ 851692 h 2245282"/>
                <a:gd name="connsiteX9" fmla="*/ 968335 w 1900290"/>
                <a:gd name="connsiteY9" fmla="*/ 1025524 h 2245282"/>
                <a:gd name="connsiteX10" fmla="*/ 1215985 w 1900290"/>
                <a:gd name="connsiteY10" fmla="*/ 1239836 h 2245282"/>
                <a:gd name="connsiteX11" fmla="*/ 1239798 w 1900290"/>
                <a:gd name="connsiteY11" fmla="*/ 1339849 h 2245282"/>
                <a:gd name="connsiteX12" fmla="*/ 1223792 w 1900290"/>
                <a:gd name="connsiteY12" fmla="*/ 2180832 h 2245282"/>
                <a:gd name="connsiteX13" fmla="*/ 1072533 w 1900290"/>
                <a:gd name="connsiteY13" fmla="*/ 2154178 h 2245282"/>
                <a:gd name="connsiteX14" fmla="*/ 1004054 w 1900290"/>
                <a:gd name="connsiteY14" fmla="*/ 1273174 h 2245282"/>
                <a:gd name="connsiteX15" fmla="*/ 780217 w 1900290"/>
                <a:gd name="connsiteY15" fmla="*/ 1070767 h 2245282"/>
                <a:gd name="connsiteX16" fmla="*/ 532567 w 1900290"/>
                <a:gd name="connsiteY16" fmla="*/ 1254124 h 2245282"/>
                <a:gd name="connsiteX17" fmla="*/ 399217 w 1900290"/>
                <a:gd name="connsiteY17" fmla="*/ 1211261 h 2245282"/>
                <a:gd name="connsiteX18" fmla="*/ 3929 w 1900290"/>
                <a:gd name="connsiteY18" fmla="*/ 832642 h 2245282"/>
                <a:gd name="connsiteX19" fmla="*/ 127754 w 1900290"/>
                <a:gd name="connsiteY19" fmla="*/ 746917 h 2245282"/>
                <a:gd name="connsiteX20" fmla="*/ 470654 w 1900290"/>
                <a:gd name="connsiteY20" fmla="*/ 1061242 h 2245282"/>
                <a:gd name="connsiteX21" fmla="*/ 620673 w 1900290"/>
                <a:gd name="connsiteY21" fmla="*/ 977899 h 2245282"/>
                <a:gd name="connsiteX22" fmla="*/ 668298 w 1900290"/>
                <a:gd name="connsiteY22" fmla="*/ 913605 h 2245282"/>
                <a:gd name="connsiteX23" fmla="*/ 663535 w 1900290"/>
                <a:gd name="connsiteY23" fmla="*/ 815974 h 2245282"/>
                <a:gd name="connsiteX24" fmla="*/ 1023104 w 1900290"/>
                <a:gd name="connsiteY24" fmla="*/ 496886 h 2245282"/>
                <a:gd name="connsiteX25" fmla="*/ 980242 w 1900290"/>
                <a:gd name="connsiteY25" fmla="*/ 442117 h 2245282"/>
                <a:gd name="connsiteX26" fmla="*/ 865942 w 1900290"/>
                <a:gd name="connsiteY26" fmla="*/ 427830 h 2245282"/>
                <a:gd name="connsiteX27" fmla="*/ 458748 w 1900290"/>
                <a:gd name="connsiteY27" fmla="*/ 651667 h 2245282"/>
                <a:gd name="connsiteX28" fmla="*/ 361117 w 1900290"/>
                <a:gd name="connsiteY28" fmla="*/ 513555 h 2245282"/>
                <a:gd name="connsiteX29" fmla="*/ 818317 w 1900290"/>
                <a:gd name="connsiteY29" fmla="*/ 263524 h 2245282"/>
                <a:gd name="connsiteX30" fmla="*/ 1586666 w 1900290"/>
                <a:gd name="connsiteY30" fmla="*/ 0 h 2245282"/>
                <a:gd name="connsiteX31" fmla="*/ 1786691 w 1900290"/>
                <a:gd name="connsiteY31" fmla="*/ 200025 h 2245282"/>
                <a:gd name="connsiteX32" fmla="*/ 1586666 w 1900290"/>
                <a:gd name="connsiteY32" fmla="*/ 400050 h 2245282"/>
                <a:gd name="connsiteX33" fmla="*/ 1386641 w 1900290"/>
                <a:gd name="connsiteY33" fmla="*/ 200025 h 2245282"/>
                <a:gd name="connsiteX34" fmla="*/ 1586666 w 1900290"/>
                <a:gd name="connsiteY34" fmla="*/ 0 h 2245282"/>
                <a:gd name="connsiteX0" fmla="*/ 818317 w 1900290"/>
                <a:gd name="connsiteY0" fmla="*/ 263524 h 2238405"/>
                <a:gd name="connsiteX1" fmla="*/ 1346954 w 1900290"/>
                <a:gd name="connsiteY1" fmla="*/ 358774 h 2238405"/>
                <a:gd name="connsiteX2" fmla="*/ 1489829 w 1900290"/>
                <a:gd name="connsiteY2" fmla="*/ 484980 h 2238405"/>
                <a:gd name="connsiteX3" fmla="*/ 1413629 w 1900290"/>
                <a:gd name="connsiteY3" fmla="*/ 882649 h 2238405"/>
                <a:gd name="connsiteX4" fmla="*/ 1830348 w 1900290"/>
                <a:gd name="connsiteY4" fmla="*/ 977899 h 2238405"/>
                <a:gd name="connsiteX5" fmla="*/ 1813679 w 1900290"/>
                <a:gd name="connsiteY5" fmla="*/ 1163636 h 2238405"/>
                <a:gd name="connsiteX6" fmla="*/ 1201698 w 1900290"/>
                <a:gd name="connsiteY6" fmla="*/ 987424 h 2238405"/>
                <a:gd name="connsiteX7" fmla="*/ 1177885 w 1900290"/>
                <a:gd name="connsiteY7" fmla="*/ 887411 h 2238405"/>
                <a:gd name="connsiteX8" fmla="*/ 1123117 w 1900290"/>
                <a:gd name="connsiteY8" fmla="*/ 851692 h 2238405"/>
                <a:gd name="connsiteX9" fmla="*/ 968335 w 1900290"/>
                <a:gd name="connsiteY9" fmla="*/ 1025524 h 2238405"/>
                <a:gd name="connsiteX10" fmla="*/ 1215985 w 1900290"/>
                <a:gd name="connsiteY10" fmla="*/ 1239836 h 2238405"/>
                <a:gd name="connsiteX11" fmla="*/ 1239798 w 1900290"/>
                <a:gd name="connsiteY11" fmla="*/ 1339849 h 2238405"/>
                <a:gd name="connsiteX12" fmla="*/ 1215321 w 1900290"/>
                <a:gd name="connsiteY12" fmla="*/ 2163534 h 2238405"/>
                <a:gd name="connsiteX13" fmla="*/ 1072533 w 1900290"/>
                <a:gd name="connsiteY13" fmla="*/ 2154178 h 2238405"/>
                <a:gd name="connsiteX14" fmla="*/ 1004054 w 1900290"/>
                <a:gd name="connsiteY14" fmla="*/ 1273174 h 2238405"/>
                <a:gd name="connsiteX15" fmla="*/ 780217 w 1900290"/>
                <a:gd name="connsiteY15" fmla="*/ 1070767 h 2238405"/>
                <a:gd name="connsiteX16" fmla="*/ 532567 w 1900290"/>
                <a:gd name="connsiteY16" fmla="*/ 1254124 h 2238405"/>
                <a:gd name="connsiteX17" fmla="*/ 399217 w 1900290"/>
                <a:gd name="connsiteY17" fmla="*/ 1211261 h 2238405"/>
                <a:gd name="connsiteX18" fmla="*/ 3929 w 1900290"/>
                <a:gd name="connsiteY18" fmla="*/ 832642 h 2238405"/>
                <a:gd name="connsiteX19" fmla="*/ 127754 w 1900290"/>
                <a:gd name="connsiteY19" fmla="*/ 746917 h 2238405"/>
                <a:gd name="connsiteX20" fmla="*/ 470654 w 1900290"/>
                <a:gd name="connsiteY20" fmla="*/ 1061242 h 2238405"/>
                <a:gd name="connsiteX21" fmla="*/ 620673 w 1900290"/>
                <a:gd name="connsiteY21" fmla="*/ 977899 h 2238405"/>
                <a:gd name="connsiteX22" fmla="*/ 668298 w 1900290"/>
                <a:gd name="connsiteY22" fmla="*/ 913605 h 2238405"/>
                <a:gd name="connsiteX23" fmla="*/ 663535 w 1900290"/>
                <a:gd name="connsiteY23" fmla="*/ 815974 h 2238405"/>
                <a:gd name="connsiteX24" fmla="*/ 1023104 w 1900290"/>
                <a:gd name="connsiteY24" fmla="*/ 496886 h 2238405"/>
                <a:gd name="connsiteX25" fmla="*/ 980242 w 1900290"/>
                <a:gd name="connsiteY25" fmla="*/ 442117 h 2238405"/>
                <a:gd name="connsiteX26" fmla="*/ 865942 w 1900290"/>
                <a:gd name="connsiteY26" fmla="*/ 427830 h 2238405"/>
                <a:gd name="connsiteX27" fmla="*/ 458748 w 1900290"/>
                <a:gd name="connsiteY27" fmla="*/ 651667 h 2238405"/>
                <a:gd name="connsiteX28" fmla="*/ 361117 w 1900290"/>
                <a:gd name="connsiteY28" fmla="*/ 513555 h 2238405"/>
                <a:gd name="connsiteX29" fmla="*/ 818317 w 1900290"/>
                <a:gd name="connsiteY29" fmla="*/ 263524 h 2238405"/>
                <a:gd name="connsiteX30" fmla="*/ 1586666 w 1900290"/>
                <a:gd name="connsiteY30" fmla="*/ 0 h 2238405"/>
                <a:gd name="connsiteX31" fmla="*/ 1786691 w 1900290"/>
                <a:gd name="connsiteY31" fmla="*/ 200025 h 2238405"/>
                <a:gd name="connsiteX32" fmla="*/ 1586666 w 1900290"/>
                <a:gd name="connsiteY32" fmla="*/ 400050 h 2238405"/>
                <a:gd name="connsiteX33" fmla="*/ 1386641 w 1900290"/>
                <a:gd name="connsiteY33" fmla="*/ 200025 h 2238405"/>
                <a:gd name="connsiteX34" fmla="*/ 1586666 w 1900290"/>
                <a:gd name="connsiteY34" fmla="*/ 0 h 2238405"/>
                <a:gd name="connsiteX0" fmla="*/ 818317 w 1900290"/>
                <a:gd name="connsiteY0" fmla="*/ 263524 h 2256586"/>
                <a:gd name="connsiteX1" fmla="*/ 1346954 w 1900290"/>
                <a:gd name="connsiteY1" fmla="*/ 358774 h 2256586"/>
                <a:gd name="connsiteX2" fmla="*/ 1489829 w 1900290"/>
                <a:gd name="connsiteY2" fmla="*/ 484980 h 2256586"/>
                <a:gd name="connsiteX3" fmla="*/ 1413629 w 1900290"/>
                <a:gd name="connsiteY3" fmla="*/ 882649 h 2256586"/>
                <a:gd name="connsiteX4" fmla="*/ 1830348 w 1900290"/>
                <a:gd name="connsiteY4" fmla="*/ 977899 h 2256586"/>
                <a:gd name="connsiteX5" fmla="*/ 1813679 w 1900290"/>
                <a:gd name="connsiteY5" fmla="*/ 1163636 h 2256586"/>
                <a:gd name="connsiteX6" fmla="*/ 1201698 w 1900290"/>
                <a:gd name="connsiteY6" fmla="*/ 987424 h 2256586"/>
                <a:gd name="connsiteX7" fmla="*/ 1177885 w 1900290"/>
                <a:gd name="connsiteY7" fmla="*/ 887411 h 2256586"/>
                <a:gd name="connsiteX8" fmla="*/ 1123117 w 1900290"/>
                <a:gd name="connsiteY8" fmla="*/ 851692 h 2256586"/>
                <a:gd name="connsiteX9" fmla="*/ 968335 w 1900290"/>
                <a:gd name="connsiteY9" fmla="*/ 1025524 h 2256586"/>
                <a:gd name="connsiteX10" fmla="*/ 1215985 w 1900290"/>
                <a:gd name="connsiteY10" fmla="*/ 1239836 h 2256586"/>
                <a:gd name="connsiteX11" fmla="*/ 1239798 w 1900290"/>
                <a:gd name="connsiteY11" fmla="*/ 1339849 h 2256586"/>
                <a:gd name="connsiteX12" fmla="*/ 1215321 w 1900290"/>
                <a:gd name="connsiteY12" fmla="*/ 2163534 h 2256586"/>
                <a:gd name="connsiteX13" fmla="*/ 1072533 w 1900290"/>
                <a:gd name="connsiteY13" fmla="*/ 2154178 h 2256586"/>
                <a:gd name="connsiteX14" fmla="*/ 1004054 w 1900290"/>
                <a:gd name="connsiteY14" fmla="*/ 1273174 h 2256586"/>
                <a:gd name="connsiteX15" fmla="*/ 780217 w 1900290"/>
                <a:gd name="connsiteY15" fmla="*/ 1070767 h 2256586"/>
                <a:gd name="connsiteX16" fmla="*/ 532567 w 1900290"/>
                <a:gd name="connsiteY16" fmla="*/ 1254124 h 2256586"/>
                <a:gd name="connsiteX17" fmla="*/ 399217 w 1900290"/>
                <a:gd name="connsiteY17" fmla="*/ 1211261 h 2256586"/>
                <a:gd name="connsiteX18" fmla="*/ 3929 w 1900290"/>
                <a:gd name="connsiteY18" fmla="*/ 832642 h 2256586"/>
                <a:gd name="connsiteX19" fmla="*/ 127754 w 1900290"/>
                <a:gd name="connsiteY19" fmla="*/ 746917 h 2256586"/>
                <a:gd name="connsiteX20" fmla="*/ 470654 w 1900290"/>
                <a:gd name="connsiteY20" fmla="*/ 1061242 h 2256586"/>
                <a:gd name="connsiteX21" fmla="*/ 620673 w 1900290"/>
                <a:gd name="connsiteY21" fmla="*/ 977899 h 2256586"/>
                <a:gd name="connsiteX22" fmla="*/ 668298 w 1900290"/>
                <a:gd name="connsiteY22" fmla="*/ 913605 h 2256586"/>
                <a:gd name="connsiteX23" fmla="*/ 663535 w 1900290"/>
                <a:gd name="connsiteY23" fmla="*/ 815974 h 2256586"/>
                <a:gd name="connsiteX24" fmla="*/ 1023104 w 1900290"/>
                <a:gd name="connsiteY24" fmla="*/ 496886 h 2256586"/>
                <a:gd name="connsiteX25" fmla="*/ 980242 w 1900290"/>
                <a:gd name="connsiteY25" fmla="*/ 442117 h 2256586"/>
                <a:gd name="connsiteX26" fmla="*/ 865942 w 1900290"/>
                <a:gd name="connsiteY26" fmla="*/ 427830 h 2256586"/>
                <a:gd name="connsiteX27" fmla="*/ 458748 w 1900290"/>
                <a:gd name="connsiteY27" fmla="*/ 651667 h 2256586"/>
                <a:gd name="connsiteX28" fmla="*/ 361117 w 1900290"/>
                <a:gd name="connsiteY28" fmla="*/ 513555 h 2256586"/>
                <a:gd name="connsiteX29" fmla="*/ 818317 w 1900290"/>
                <a:gd name="connsiteY29" fmla="*/ 263524 h 2256586"/>
                <a:gd name="connsiteX30" fmla="*/ 1586666 w 1900290"/>
                <a:gd name="connsiteY30" fmla="*/ 0 h 2256586"/>
                <a:gd name="connsiteX31" fmla="*/ 1786691 w 1900290"/>
                <a:gd name="connsiteY31" fmla="*/ 200025 h 2256586"/>
                <a:gd name="connsiteX32" fmla="*/ 1586666 w 1900290"/>
                <a:gd name="connsiteY32" fmla="*/ 400050 h 2256586"/>
                <a:gd name="connsiteX33" fmla="*/ 1386641 w 1900290"/>
                <a:gd name="connsiteY33" fmla="*/ 200025 h 2256586"/>
                <a:gd name="connsiteX34" fmla="*/ 1586666 w 1900290"/>
                <a:gd name="connsiteY34" fmla="*/ 0 h 2256586"/>
                <a:gd name="connsiteX0" fmla="*/ 818317 w 1900290"/>
                <a:gd name="connsiteY0" fmla="*/ 263524 h 2256586"/>
                <a:gd name="connsiteX1" fmla="*/ 1346954 w 1900290"/>
                <a:gd name="connsiteY1" fmla="*/ 358774 h 2256586"/>
                <a:gd name="connsiteX2" fmla="*/ 1489829 w 1900290"/>
                <a:gd name="connsiteY2" fmla="*/ 484980 h 2256586"/>
                <a:gd name="connsiteX3" fmla="*/ 1413629 w 1900290"/>
                <a:gd name="connsiteY3" fmla="*/ 882649 h 2256586"/>
                <a:gd name="connsiteX4" fmla="*/ 1830348 w 1900290"/>
                <a:gd name="connsiteY4" fmla="*/ 977899 h 2256586"/>
                <a:gd name="connsiteX5" fmla="*/ 1813679 w 1900290"/>
                <a:gd name="connsiteY5" fmla="*/ 1163636 h 2256586"/>
                <a:gd name="connsiteX6" fmla="*/ 1201698 w 1900290"/>
                <a:gd name="connsiteY6" fmla="*/ 987424 h 2256586"/>
                <a:gd name="connsiteX7" fmla="*/ 1177885 w 1900290"/>
                <a:gd name="connsiteY7" fmla="*/ 887411 h 2256586"/>
                <a:gd name="connsiteX8" fmla="*/ 1123117 w 1900290"/>
                <a:gd name="connsiteY8" fmla="*/ 851692 h 2256586"/>
                <a:gd name="connsiteX9" fmla="*/ 968335 w 1900290"/>
                <a:gd name="connsiteY9" fmla="*/ 1025524 h 2256586"/>
                <a:gd name="connsiteX10" fmla="*/ 1215985 w 1900290"/>
                <a:gd name="connsiteY10" fmla="*/ 1239836 h 2256586"/>
                <a:gd name="connsiteX11" fmla="*/ 1239798 w 1900290"/>
                <a:gd name="connsiteY11" fmla="*/ 1339849 h 2256586"/>
                <a:gd name="connsiteX12" fmla="*/ 1215321 w 1900290"/>
                <a:gd name="connsiteY12" fmla="*/ 2163534 h 2256586"/>
                <a:gd name="connsiteX13" fmla="*/ 1072533 w 1900290"/>
                <a:gd name="connsiteY13" fmla="*/ 2154178 h 2256586"/>
                <a:gd name="connsiteX14" fmla="*/ 1004054 w 1900290"/>
                <a:gd name="connsiteY14" fmla="*/ 1273174 h 2256586"/>
                <a:gd name="connsiteX15" fmla="*/ 780217 w 1900290"/>
                <a:gd name="connsiteY15" fmla="*/ 1070767 h 2256586"/>
                <a:gd name="connsiteX16" fmla="*/ 532567 w 1900290"/>
                <a:gd name="connsiteY16" fmla="*/ 1254124 h 2256586"/>
                <a:gd name="connsiteX17" fmla="*/ 399217 w 1900290"/>
                <a:gd name="connsiteY17" fmla="*/ 1211261 h 2256586"/>
                <a:gd name="connsiteX18" fmla="*/ 3929 w 1900290"/>
                <a:gd name="connsiteY18" fmla="*/ 832642 h 2256586"/>
                <a:gd name="connsiteX19" fmla="*/ 127754 w 1900290"/>
                <a:gd name="connsiteY19" fmla="*/ 746917 h 2256586"/>
                <a:gd name="connsiteX20" fmla="*/ 470654 w 1900290"/>
                <a:gd name="connsiteY20" fmla="*/ 1061242 h 2256586"/>
                <a:gd name="connsiteX21" fmla="*/ 620673 w 1900290"/>
                <a:gd name="connsiteY21" fmla="*/ 977899 h 2256586"/>
                <a:gd name="connsiteX22" fmla="*/ 668298 w 1900290"/>
                <a:gd name="connsiteY22" fmla="*/ 913605 h 2256586"/>
                <a:gd name="connsiteX23" fmla="*/ 663535 w 1900290"/>
                <a:gd name="connsiteY23" fmla="*/ 815974 h 2256586"/>
                <a:gd name="connsiteX24" fmla="*/ 1023104 w 1900290"/>
                <a:gd name="connsiteY24" fmla="*/ 496886 h 2256586"/>
                <a:gd name="connsiteX25" fmla="*/ 980242 w 1900290"/>
                <a:gd name="connsiteY25" fmla="*/ 442117 h 2256586"/>
                <a:gd name="connsiteX26" fmla="*/ 865942 w 1900290"/>
                <a:gd name="connsiteY26" fmla="*/ 427830 h 2256586"/>
                <a:gd name="connsiteX27" fmla="*/ 458748 w 1900290"/>
                <a:gd name="connsiteY27" fmla="*/ 651667 h 2256586"/>
                <a:gd name="connsiteX28" fmla="*/ 361117 w 1900290"/>
                <a:gd name="connsiteY28" fmla="*/ 513555 h 2256586"/>
                <a:gd name="connsiteX29" fmla="*/ 818317 w 1900290"/>
                <a:gd name="connsiteY29" fmla="*/ 263524 h 2256586"/>
                <a:gd name="connsiteX30" fmla="*/ 1586666 w 1900290"/>
                <a:gd name="connsiteY30" fmla="*/ 0 h 2256586"/>
                <a:gd name="connsiteX31" fmla="*/ 1786691 w 1900290"/>
                <a:gd name="connsiteY31" fmla="*/ 200025 h 2256586"/>
                <a:gd name="connsiteX32" fmla="*/ 1586666 w 1900290"/>
                <a:gd name="connsiteY32" fmla="*/ 400050 h 2256586"/>
                <a:gd name="connsiteX33" fmla="*/ 1386641 w 1900290"/>
                <a:gd name="connsiteY33" fmla="*/ 200025 h 2256586"/>
                <a:gd name="connsiteX34" fmla="*/ 1586666 w 1900290"/>
                <a:gd name="connsiteY34" fmla="*/ 0 h 2256586"/>
                <a:gd name="connsiteX0" fmla="*/ 818317 w 1900290"/>
                <a:gd name="connsiteY0" fmla="*/ 263524 h 2256586"/>
                <a:gd name="connsiteX1" fmla="*/ 1346954 w 1900290"/>
                <a:gd name="connsiteY1" fmla="*/ 358774 h 2256586"/>
                <a:gd name="connsiteX2" fmla="*/ 1489829 w 1900290"/>
                <a:gd name="connsiteY2" fmla="*/ 484980 h 2256586"/>
                <a:gd name="connsiteX3" fmla="*/ 1413629 w 1900290"/>
                <a:gd name="connsiteY3" fmla="*/ 882649 h 2256586"/>
                <a:gd name="connsiteX4" fmla="*/ 1830348 w 1900290"/>
                <a:gd name="connsiteY4" fmla="*/ 977899 h 2256586"/>
                <a:gd name="connsiteX5" fmla="*/ 1813679 w 1900290"/>
                <a:gd name="connsiteY5" fmla="*/ 1163636 h 2256586"/>
                <a:gd name="connsiteX6" fmla="*/ 1201698 w 1900290"/>
                <a:gd name="connsiteY6" fmla="*/ 987424 h 2256586"/>
                <a:gd name="connsiteX7" fmla="*/ 1177885 w 1900290"/>
                <a:gd name="connsiteY7" fmla="*/ 887411 h 2256586"/>
                <a:gd name="connsiteX8" fmla="*/ 1123117 w 1900290"/>
                <a:gd name="connsiteY8" fmla="*/ 851692 h 2256586"/>
                <a:gd name="connsiteX9" fmla="*/ 968335 w 1900290"/>
                <a:gd name="connsiteY9" fmla="*/ 1025524 h 2256586"/>
                <a:gd name="connsiteX10" fmla="*/ 1215985 w 1900290"/>
                <a:gd name="connsiteY10" fmla="*/ 1239836 h 2256586"/>
                <a:gd name="connsiteX11" fmla="*/ 1239798 w 1900290"/>
                <a:gd name="connsiteY11" fmla="*/ 1339849 h 2256586"/>
                <a:gd name="connsiteX12" fmla="*/ 1215321 w 1900290"/>
                <a:gd name="connsiteY12" fmla="*/ 2163534 h 2256586"/>
                <a:gd name="connsiteX13" fmla="*/ 1072533 w 1900290"/>
                <a:gd name="connsiteY13" fmla="*/ 2154178 h 2256586"/>
                <a:gd name="connsiteX14" fmla="*/ 1004054 w 1900290"/>
                <a:gd name="connsiteY14" fmla="*/ 1273174 h 2256586"/>
                <a:gd name="connsiteX15" fmla="*/ 780217 w 1900290"/>
                <a:gd name="connsiteY15" fmla="*/ 1070767 h 2256586"/>
                <a:gd name="connsiteX16" fmla="*/ 532567 w 1900290"/>
                <a:gd name="connsiteY16" fmla="*/ 1254124 h 2256586"/>
                <a:gd name="connsiteX17" fmla="*/ 399217 w 1900290"/>
                <a:gd name="connsiteY17" fmla="*/ 1211261 h 2256586"/>
                <a:gd name="connsiteX18" fmla="*/ 3929 w 1900290"/>
                <a:gd name="connsiteY18" fmla="*/ 832642 h 2256586"/>
                <a:gd name="connsiteX19" fmla="*/ 127754 w 1900290"/>
                <a:gd name="connsiteY19" fmla="*/ 746917 h 2256586"/>
                <a:gd name="connsiteX20" fmla="*/ 470654 w 1900290"/>
                <a:gd name="connsiteY20" fmla="*/ 1061242 h 2256586"/>
                <a:gd name="connsiteX21" fmla="*/ 620673 w 1900290"/>
                <a:gd name="connsiteY21" fmla="*/ 977899 h 2256586"/>
                <a:gd name="connsiteX22" fmla="*/ 668298 w 1900290"/>
                <a:gd name="connsiteY22" fmla="*/ 913605 h 2256586"/>
                <a:gd name="connsiteX23" fmla="*/ 663535 w 1900290"/>
                <a:gd name="connsiteY23" fmla="*/ 815974 h 2256586"/>
                <a:gd name="connsiteX24" fmla="*/ 1023104 w 1900290"/>
                <a:gd name="connsiteY24" fmla="*/ 496886 h 2256586"/>
                <a:gd name="connsiteX25" fmla="*/ 980242 w 1900290"/>
                <a:gd name="connsiteY25" fmla="*/ 442117 h 2256586"/>
                <a:gd name="connsiteX26" fmla="*/ 865942 w 1900290"/>
                <a:gd name="connsiteY26" fmla="*/ 427830 h 2256586"/>
                <a:gd name="connsiteX27" fmla="*/ 458748 w 1900290"/>
                <a:gd name="connsiteY27" fmla="*/ 651667 h 2256586"/>
                <a:gd name="connsiteX28" fmla="*/ 361117 w 1900290"/>
                <a:gd name="connsiteY28" fmla="*/ 513555 h 2256586"/>
                <a:gd name="connsiteX29" fmla="*/ 818317 w 1900290"/>
                <a:gd name="connsiteY29" fmla="*/ 263524 h 2256586"/>
                <a:gd name="connsiteX30" fmla="*/ 1586666 w 1900290"/>
                <a:gd name="connsiteY30" fmla="*/ 0 h 2256586"/>
                <a:gd name="connsiteX31" fmla="*/ 1786691 w 1900290"/>
                <a:gd name="connsiteY31" fmla="*/ 200025 h 2256586"/>
                <a:gd name="connsiteX32" fmla="*/ 1586666 w 1900290"/>
                <a:gd name="connsiteY32" fmla="*/ 400050 h 2256586"/>
                <a:gd name="connsiteX33" fmla="*/ 1386641 w 1900290"/>
                <a:gd name="connsiteY33" fmla="*/ 200025 h 2256586"/>
                <a:gd name="connsiteX34" fmla="*/ 1586666 w 1900290"/>
                <a:gd name="connsiteY34" fmla="*/ 0 h 2256586"/>
                <a:gd name="connsiteX0" fmla="*/ 818317 w 1900290"/>
                <a:gd name="connsiteY0" fmla="*/ 263524 h 2256586"/>
                <a:gd name="connsiteX1" fmla="*/ 1346954 w 1900290"/>
                <a:gd name="connsiteY1" fmla="*/ 358774 h 2256586"/>
                <a:gd name="connsiteX2" fmla="*/ 1489829 w 1900290"/>
                <a:gd name="connsiteY2" fmla="*/ 484980 h 2256586"/>
                <a:gd name="connsiteX3" fmla="*/ 1413629 w 1900290"/>
                <a:gd name="connsiteY3" fmla="*/ 882649 h 2256586"/>
                <a:gd name="connsiteX4" fmla="*/ 1830348 w 1900290"/>
                <a:gd name="connsiteY4" fmla="*/ 977899 h 2256586"/>
                <a:gd name="connsiteX5" fmla="*/ 1813679 w 1900290"/>
                <a:gd name="connsiteY5" fmla="*/ 1163636 h 2256586"/>
                <a:gd name="connsiteX6" fmla="*/ 1201698 w 1900290"/>
                <a:gd name="connsiteY6" fmla="*/ 987424 h 2256586"/>
                <a:gd name="connsiteX7" fmla="*/ 1177885 w 1900290"/>
                <a:gd name="connsiteY7" fmla="*/ 887411 h 2256586"/>
                <a:gd name="connsiteX8" fmla="*/ 1123117 w 1900290"/>
                <a:gd name="connsiteY8" fmla="*/ 851692 h 2256586"/>
                <a:gd name="connsiteX9" fmla="*/ 968335 w 1900290"/>
                <a:gd name="connsiteY9" fmla="*/ 1025524 h 2256586"/>
                <a:gd name="connsiteX10" fmla="*/ 1215985 w 1900290"/>
                <a:gd name="connsiteY10" fmla="*/ 1239836 h 2256586"/>
                <a:gd name="connsiteX11" fmla="*/ 1239798 w 1900290"/>
                <a:gd name="connsiteY11" fmla="*/ 1339849 h 2256586"/>
                <a:gd name="connsiteX12" fmla="*/ 1215321 w 1900290"/>
                <a:gd name="connsiteY12" fmla="*/ 2163534 h 2256586"/>
                <a:gd name="connsiteX13" fmla="*/ 1072533 w 1900290"/>
                <a:gd name="connsiteY13" fmla="*/ 2154178 h 2256586"/>
                <a:gd name="connsiteX14" fmla="*/ 1004054 w 1900290"/>
                <a:gd name="connsiteY14" fmla="*/ 1273174 h 2256586"/>
                <a:gd name="connsiteX15" fmla="*/ 780217 w 1900290"/>
                <a:gd name="connsiteY15" fmla="*/ 1070767 h 2256586"/>
                <a:gd name="connsiteX16" fmla="*/ 532567 w 1900290"/>
                <a:gd name="connsiteY16" fmla="*/ 1254124 h 2256586"/>
                <a:gd name="connsiteX17" fmla="*/ 399217 w 1900290"/>
                <a:gd name="connsiteY17" fmla="*/ 1211261 h 2256586"/>
                <a:gd name="connsiteX18" fmla="*/ 3929 w 1900290"/>
                <a:gd name="connsiteY18" fmla="*/ 832642 h 2256586"/>
                <a:gd name="connsiteX19" fmla="*/ 127754 w 1900290"/>
                <a:gd name="connsiteY19" fmla="*/ 746917 h 2256586"/>
                <a:gd name="connsiteX20" fmla="*/ 470654 w 1900290"/>
                <a:gd name="connsiteY20" fmla="*/ 1061242 h 2256586"/>
                <a:gd name="connsiteX21" fmla="*/ 620673 w 1900290"/>
                <a:gd name="connsiteY21" fmla="*/ 977899 h 2256586"/>
                <a:gd name="connsiteX22" fmla="*/ 668298 w 1900290"/>
                <a:gd name="connsiteY22" fmla="*/ 913605 h 2256586"/>
                <a:gd name="connsiteX23" fmla="*/ 663535 w 1900290"/>
                <a:gd name="connsiteY23" fmla="*/ 815974 h 2256586"/>
                <a:gd name="connsiteX24" fmla="*/ 1023104 w 1900290"/>
                <a:gd name="connsiteY24" fmla="*/ 496886 h 2256586"/>
                <a:gd name="connsiteX25" fmla="*/ 980242 w 1900290"/>
                <a:gd name="connsiteY25" fmla="*/ 442117 h 2256586"/>
                <a:gd name="connsiteX26" fmla="*/ 865942 w 1900290"/>
                <a:gd name="connsiteY26" fmla="*/ 427830 h 2256586"/>
                <a:gd name="connsiteX27" fmla="*/ 458748 w 1900290"/>
                <a:gd name="connsiteY27" fmla="*/ 651667 h 2256586"/>
                <a:gd name="connsiteX28" fmla="*/ 361117 w 1900290"/>
                <a:gd name="connsiteY28" fmla="*/ 513555 h 2256586"/>
                <a:gd name="connsiteX29" fmla="*/ 818317 w 1900290"/>
                <a:gd name="connsiteY29" fmla="*/ 263524 h 2256586"/>
                <a:gd name="connsiteX30" fmla="*/ 1586666 w 1900290"/>
                <a:gd name="connsiteY30" fmla="*/ 0 h 2256586"/>
                <a:gd name="connsiteX31" fmla="*/ 1786691 w 1900290"/>
                <a:gd name="connsiteY31" fmla="*/ 200025 h 2256586"/>
                <a:gd name="connsiteX32" fmla="*/ 1586666 w 1900290"/>
                <a:gd name="connsiteY32" fmla="*/ 400050 h 2256586"/>
                <a:gd name="connsiteX33" fmla="*/ 1386641 w 1900290"/>
                <a:gd name="connsiteY33" fmla="*/ 200025 h 2256586"/>
                <a:gd name="connsiteX34" fmla="*/ 1586666 w 1900290"/>
                <a:gd name="connsiteY34" fmla="*/ 0 h 2256586"/>
                <a:gd name="connsiteX0" fmla="*/ 818317 w 1900290"/>
                <a:gd name="connsiteY0" fmla="*/ 263524 h 2227786"/>
                <a:gd name="connsiteX1" fmla="*/ 1346954 w 1900290"/>
                <a:gd name="connsiteY1" fmla="*/ 358774 h 2227786"/>
                <a:gd name="connsiteX2" fmla="*/ 1489829 w 1900290"/>
                <a:gd name="connsiteY2" fmla="*/ 484980 h 2227786"/>
                <a:gd name="connsiteX3" fmla="*/ 1413629 w 1900290"/>
                <a:gd name="connsiteY3" fmla="*/ 882649 h 2227786"/>
                <a:gd name="connsiteX4" fmla="*/ 1830348 w 1900290"/>
                <a:gd name="connsiteY4" fmla="*/ 977899 h 2227786"/>
                <a:gd name="connsiteX5" fmla="*/ 1813679 w 1900290"/>
                <a:gd name="connsiteY5" fmla="*/ 1163636 h 2227786"/>
                <a:gd name="connsiteX6" fmla="*/ 1201698 w 1900290"/>
                <a:gd name="connsiteY6" fmla="*/ 987424 h 2227786"/>
                <a:gd name="connsiteX7" fmla="*/ 1177885 w 1900290"/>
                <a:gd name="connsiteY7" fmla="*/ 887411 h 2227786"/>
                <a:gd name="connsiteX8" fmla="*/ 1123117 w 1900290"/>
                <a:gd name="connsiteY8" fmla="*/ 851692 h 2227786"/>
                <a:gd name="connsiteX9" fmla="*/ 968335 w 1900290"/>
                <a:gd name="connsiteY9" fmla="*/ 1025524 h 2227786"/>
                <a:gd name="connsiteX10" fmla="*/ 1215985 w 1900290"/>
                <a:gd name="connsiteY10" fmla="*/ 1239836 h 2227786"/>
                <a:gd name="connsiteX11" fmla="*/ 1239798 w 1900290"/>
                <a:gd name="connsiteY11" fmla="*/ 1339849 h 2227786"/>
                <a:gd name="connsiteX12" fmla="*/ 1215321 w 1900290"/>
                <a:gd name="connsiteY12" fmla="*/ 2163534 h 2227786"/>
                <a:gd name="connsiteX13" fmla="*/ 1072533 w 1900290"/>
                <a:gd name="connsiteY13" fmla="*/ 2154178 h 2227786"/>
                <a:gd name="connsiteX14" fmla="*/ 1004054 w 1900290"/>
                <a:gd name="connsiteY14" fmla="*/ 1273174 h 2227786"/>
                <a:gd name="connsiteX15" fmla="*/ 780217 w 1900290"/>
                <a:gd name="connsiteY15" fmla="*/ 1070767 h 2227786"/>
                <a:gd name="connsiteX16" fmla="*/ 532567 w 1900290"/>
                <a:gd name="connsiteY16" fmla="*/ 1254124 h 2227786"/>
                <a:gd name="connsiteX17" fmla="*/ 399217 w 1900290"/>
                <a:gd name="connsiteY17" fmla="*/ 1211261 h 2227786"/>
                <a:gd name="connsiteX18" fmla="*/ 3929 w 1900290"/>
                <a:gd name="connsiteY18" fmla="*/ 832642 h 2227786"/>
                <a:gd name="connsiteX19" fmla="*/ 127754 w 1900290"/>
                <a:gd name="connsiteY19" fmla="*/ 746917 h 2227786"/>
                <a:gd name="connsiteX20" fmla="*/ 470654 w 1900290"/>
                <a:gd name="connsiteY20" fmla="*/ 1061242 h 2227786"/>
                <a:gd name="connsiteX21" fmla="*/ 620673 w 1900290"/>
                <a:gd name="connsiteY21" fmla="*/ 977899 h 2227786"/>
                <a:gd name="connsiteX22" fmla="*/ 668298 w 1900290"/>
                <a:gd name="connsiteY22" fmla="*/ 913605 h 2227786"/>
                <a:gd name="connsiteX23" fmla="*/ 663535 w 1900290"/>
                <a:gd name="connsiteY23" fmla="*/ 815974 h 2227786"/>
                <a:gd name="connsiteX24" fmla="*/ 1023104 w 1900290"/>
                <a:gd name="connsiteY24" fmla="*/ 496886 h 2227786"/>
                <a:gd name="connsiteX25" fmla="*/ 980242 w 1900290"/>
                <a:gd name="connsiteY25" fmla="*/ 442117 h 2227786"/>
                <a:gd name="connsiteX26" fmla="*/ 865942 w 1900290"/>
                <a:gd name="connsiteY26" fmla="*/ 427830 h 2227786"/>
                <a:gd name="connsiteX27" fmla="*/ 458748 w 1900290"/>
                <a:gd name="connsiteY27" fmla="*/ 651667 h 2227786"/>
                <a:gd name="connsiteX28" fmla="*/ 361117 w 1900290"/>
                <a:gd name="connsiteY28" fmla="*/ 513555 h 2227786"/>
                <a:gd name="connsiteX29" fmla="*/ 818317 w 1900290"/>
                <a:gd name="connsiteY29" fmla="*/ 263524 h 2227786"/>
                <a:gd name="connsiteX30" fmla="*/ 1586666 w 1900290"/>
                <a:gd name="connsiteY30" fmla="*/ 0 h 2227786"/>
                <a:gd name="connsiteX31" fmla="*/ 1786691 w 1900290"/>
                <a:gd name="connsiteY31" fmla="*/ 200025 h 2227786"/>
                <a:gd name="connsiteX32" fmla="*/ 1586666 w 1900290"/>
                <a:gd name="connsiteY32" fmla="*/ 400050 h 2227786"/>
                <a:gd name="connsiteX33" fmla="*/ 1386641 w 1900290"/>
                <a:gd name="connsiteY33" fmla="*/ 200025 h 2227786"/>
                <a:gd name="connsiteX34" fmla="*/ 1586666 w 1900290"/>
                <a:gd name="connsiteY34" fmla="*/ 0 h 2227786"/>
                <a:gd name="connsiteX0" fmla="*/ 818317 w 1900290"/>
                <a:gd name="connsiteY0" fmla="*/ 263524 h 2219442"/>
                <a:gd name="connsiteX1" fmla="*/ 1346954 w 1900290"/>
                <a:gd name="connsiteY1" fmla="*/ 358774 h 2219442"/>
                <a:gd name="connsiteX2" fmla="*/ 1489829 w 1900290"/>
                <a:gd name="connsiteY2" fmla="*/ 484980 h 2219442"/>
                <a:gd name="connsiteX3" fmla="*/ 1413629 w 1900290"/>
                <a:gd name="connsiteY3" fmla="*/ 882649 h 2219442"/>
                <a:gd name="connsiteX4" fmla="*/ 1830348 w 1900290"/>
                <a:gd name="connsiteY4" fmla="*/ 977899 h 2219442"/>
                <a:gd name="connsiteX5" fmla="*/ 1813679 w 1900290"/>
                <a:gd name="connsiteY5" fmla="*/ 1163636 h 2219442"/>
                <a:gd name="connsiteX6" fmla="*/ 1201698 w 1900290"/>
                <a:gd name="connsiteY6" fmla="*/ 987424 h 2219442"/>
                <a:gd name="connsiteX7" fmla="*/ 1177885 w 1900290"/>
                <a:gd name="connsiteY7" fmla="*/ 887411 h 2219442"/>
                <a:gd name="connsiteX8" fmla="*/ 1123117 w 1900290"/>
                <a:gd name="connsiteY8" fmla="*/ 851692 h 2219442"/>
                <a:gd name="connsiteX9" fmla="*/ 968335 w 1900290"/>
                <a:gd name="connsiteY9" fmla="*/ 1025524 h 2219442"/>
                <a:gd name="connsiteX10" fmla="*/ 1215985 w 1900290"/>
                <a:gd name="connsiteY10" fmla="*/ 1239836 h 2219442"/>
                <a:gd name="connsiteX11" fmla="*/ 1239798 w 1900290"/>
                <a:gd name="connsiteY11" fmla="*/ 1339849 h 2219442"/>
                <a:gd name="connsiteX12" fmla="*/ 1215321 w 1900290"/>
                <a:gd name="connsiteY12" fmla="*/ 2163534 h 2219442"/>
                <a:gd name="connsiteX13" fmla="*/ 1072533 w 1900290"/>
                <a:gd name="connsiteY13" fmla="*/ 2154178 h 2219442"/>
                <a:gd name="connsiteX14" fmla="*/ 1004054 w 1900290"/>
                <a:gd name="connsiteY14" fmla="*/ 1273174 h 2219442"/>
                <a:gd name="connsiteX15" fmla="*/ 780217 w 1900290"/>
                <a:gd name="connsiteY15" fmla="*/ 1070767 h 2219442"/>
                <a:gd name="connsiteX16" fmla="*/ 532567 w 1900290"/>
                <a:gd name="connsiteY16" fmla="*/ 1254124 h 2219442"/>
                <a:gd name="connsiteX17" fmla="*/ 399217 w 1900290"/>
                <a:gd name="connsiteY17" fmla="*/ 1211261 h 2219442"/>
                <a:gd name="connsiteX18" fmla="*/ 3929 w 1900290"/>
                <a:gd name="connsiteY18" fmla="*/ 832642 h 2219442"/>
                <a:gd name="connsiteX19" fmla="*/ 127754 w 1900290"/>
                <a:gd name="connsiteY19" fmla="*/ 746917 h 2219442"/>
                <a:gd name="connsiteX20" fmla="*/ 470654 w 1900290"/>
                <a:gd name="connsiteY20" fmla="*/ 1061242 h 2219442"/>
                <a:gd name="connsiteX21" fmla="*/ 620673 w 1900290"/>
                <a:gd name="connsiteY21" fmla="*/ 977899 h 2219442"/>
                <a:gd name="connsiteX22" fmla="*/ 668298 w 1900290"/>
                <a:gd name="connsiteY22" fmla="*/ 913605 h 2219442"/>
                <a:gd name="connsiteX23" fmla="*/ 663535 w 1900290"/>
                <a:gd name="connsiteY23" fmla="*/ 815974 h 2219442"/>
                <a:gd name="connsiteX24" fmla="*/ 1023104 w 1900290"/>
                <a:gd name="connsiteY24" fmla="*/ 496886 h 2219442"/>
                <a:gd name="connsiteX25" fmla="*/ 980242 w 1900290"/>
                <a:gd name="connsiteY25" fmla="*/ 442117 h 2219442"/>
                <a:gd name="connsiteX26" fmla="*/ 865942 w 1900290"/>
                <a:gd name="connsiteY26" fmla="*/ 427830 h 2219442"/>
                <a:gd name="connsiteX27" fmla="*/ 458748 w 1900290"/>
                <a:gd name="connsiteY27" fmla="*/ 651667 h 2219442"/>
                <a:gd name="connsiteX28" fmla="*/ 361117 w 1900290"/>
                <a:gd name="connsiteY28" fmla="*/ 513555 h 2219442"/>
                <a:gd name="connsiteX29" fmla="*/ 818317 w 1900290"/>
                <a:gd name="connsiteY29" fmla="*/ 263524 h 2219442"/>
                <a:gd name="connsiteX30" fmla="*/ 1586666 w 1900290"/>
                <a:gd name="connsiteY30" fmla="*/ 0 h 2219442"/>
                <a:gd name="connsiteX31" fmla="*/ 1786691 w 1900290"/>
                <a:gd name="connsiteY31" fmla="*/ 200025 h 2219442"/>
                <a:gd name="connsiteX32" fmla="*/ 1586666 w 1900290"/>
                <a:gd name="connsiteY32" fmla="*/ 400050 h 2219442"/>
                <a:gd name="connsiteX33" fmla="*/ 1386641 w 1900290"/>
                <a:gd name="connsiteY33" fmla="*/ 200025 h 2219442"/>
                <a:gd name="connsiteX34" fmla="*/ 1586666 w 1900290"/>
                <a:gd name="connsiteY34" fmla="*/ 0 h 2219442"/>
                <a:gd name="connsiteX0" fmla="*/ 818317 w 1900290"/>
                <a:gd name="connsiteY0" fmla="*/ 263524 h 2181484"/>
                <a:gd name="connsiteX1" fmla="*/ 1346954 w 1900290"/>
                <a:gd name="connsiteY1" fmla="*/ 358774 h 2181484"/>
                <a:gd name="connsiteX2" fmla="*/ 1489829 w 1900290"/>
                <a:gd name="connsiteY2" fmla="*/ 484980 h 2181484"/>
                <a:gd name="connsiteX3" fmla="*/ 1413629 w 1900290"/>
                <a:gd name="connsiteY3" fmla="*/ 882649 h 2181484"/>
                <a:gd name="connsiteX4" fmla="*/ 1830348 w 1900290"/>
                <a:gd name="connsiteY4" fmla="*/ 977899 h 2181484"/>
                <a:gd name="connsiteX5" fmla="*/ 1813679 w 1900290"/>
                <a:gd name="connsiteY5" fmla="*/ 1163636 h 2181484"/>
                <a:gd name="connsiteX6" fmla="*/ 1201698 w 1900290"/>
                <a:gd name="connsiteY6" fmla="*/ 987424 h 2181484"/>
                <a:gd name="connsiteX7" fmla="*/ 1177885 w 1900290"/>
                <a:gd name="connsiteY7" fmla="*/ 887411 h 2181484"/>
                <a:gd name="connsiteX8" fmla="*/ 1123117 w 1900290"/>
                <a:gd name="connsiteY8" fmla="*/ 851692 h 2181484"/>
                <a:gd name="connsiteX9" fmla="*/ 968335 w 1900290"/>
                <a:gd name="connsiteY9" fmla="*/ 1025524 h 2181484"/>
                <a:gd name="connsiteX10" fmla="*/ 1215985 w 1900290"/>
                <a:gd name="connsiteY10" fmla="*/ 1239836 h 2181484"/>
                <a:gd name="connsiteX11" fmla="*/ 1239798 w 1900290"/>
                <a:gd name="connsiteY11" fmla="*/ 1339849 h 2181484"/>
                <a:gd name="connsiteX12" fmla="*/ 1215321 w 1900290"/>
                <a:gd name="connsiteY12" fmla="*/ 2163534 h 2181484"/>
                <a:gd name="connsiteX13" fmla="*/ 1062993 w 1900290"/>
                <a:gd name="connsiteY13" fmla="*/ 1915802 h 2181484"/>
                <a:gd name="connsiteX14" fmla="*/ 1004054 w 1900290"/>
                <a:gd name="connsiteY14" fmla="*/ 1273174 h 2181484"/>
                <a:gd name="connsiteX15" fmla="*/ 780217 w 1900290"/>
                <a:gd name="connsiteY15" fmla="*/ 1070767 h 2181484"/>
                <a:gd name="connsiteX16" fmla="*/ 532567 w 1900290"/>
                <a:gd name="connsiteY16" fmla="*/ 1254124 h 2181484"/>
                <a:gd name="connsiteX17" fmla="*/ 399217 w 1900290"/>
                <a:gd name="connsiteY17" fmla="*/ 1211261 h 2181484"/>
                <a:gd name="connsiteX18" fmla="*/ 3929 w 1900290"/>
                <a:gd name="connsiteY18" fmla="*/ 832642 h 2181484"/>
                <a:gd name="connsiteX19" fmla="*/ 127754 w 1900290"/>
                <a:gd name="connsiteY19" fmla="*/ 746917 h 2181484"/>
                <a:gd name="connsiteX20" fmla="*/ 470654 w 1900290"/>
                <a:gd name="connsiteY20" fmla="*/ 1061242 h 2181484"/>
                <a:gd name="connsiteX21" fmla="*/ 620673 w 1900290"/>
                <a:gd name="connsiteY21" fmla="*/ 977899 h 2181484"/>
                <a:gd name="connsiteX22" fmla="*/ 668298 w 1900290"/>
                <a:gd name="connsiteY22" fmla="*/ 913605 h 2181484"/>
                <a:gd name="connsiteX23" fmla="*/ 663535 w 1900290"/>
                <a:gd name="connsiteY23" fmla="*/ 815974 h 2181484"/>
                <a:gd name="connsiteX24" fmla="*/ 1023104 w 1900290"/>
                <a:gd name="connsiteY24" fmla="*/ 496886 h 2181484"/>
                <a:gd name="connsiteX25" fmla="*/ 980242 w 1900290"/>
                <a:gd name="connsiteY25" fmla="*/ 442117 h 2181484"/>
                <a:gd name="connsiteX26" fmla="*/ 865942 w 1900290"/>
                <a:gd name="connsiteY26" fmla="*/ 427830 h 2181484"/>
                <a:gd name="connsiteX27" fmla="*/ 458748 w 1900290"/>
                <a:gd name="connsiteY27" fmla="*/ 651667 h 2181484"/>
                <a:gd name="connsiteX28" fmla="*/ 361117 w 1900290"/>
                <a:gd name="connsiteY28" fmla="*/ 513555 h 2181484"/>
                <a:gd name="connsiteX29" fmla="*/ 818317 w 1900290"/>
                <a:gd name="connsiteY29" fmla="*/ 263524 h 2181484"/>
                <a:gd name="connsiteX30" fmla="*/ 1586666 w 1900290"/>
                <a:gd name="connsiteY30" fmla="*/ 0 h 2181484"/>
                <a:gd name="connsiteX31" fmla="*/ 1786691 w 1900290"/>
                <a:gd name="connsiteY31" fmla="*/ 200025 h 2181484"/>
                <a:gd name="connsiteX32" fmla="*/ 1586666 w 1900290"/>
                <a:gd name="connsiteY32" fmla="*/ 400050 h 2181484"/>
                <a:gd name="connsiteX33" fmla="*/ 1386641 w 1900290"/>
                <a:gd name="connsiteY33" fmla="*/ 200025 h 2181484"/>
                <a:gd name="connsiteX34" fmla="*/ 1586666 w 1900290"/>
                <a:gd name="connsiteY34" fmla="*/ 0 h 2181484"/>
                <a:gd name="connsiteX0" fmla="*/ 818317 w 1900290"/>
                <a:gd name="connsiteY0" fmla="*/ 263524 h 1967526"/>
                <a:gd name="connsiteX1" fmla="*/ 1346954 w 1900290"/>
                <a:gd name="connsiteY1" fmla="*/ 358774 h 1967526"/>
                <a:gd name="connsiteX2" fmla="*/ 1489829 w 1900290"/>
                <a:gd name="connsiteY2" fmla="*/ 484980 h 1967526"/>
                <a:gd name="connsiteX3" fmla="*/ 1413629 w 1900290"/>
                <a:gd name="connsiteY3" fmla="*/ 882649 h 1967526"/>
                <a:gd name="connsiteX4" fmla="*/ 1830348 w 1900290"/>
                <a:gd name="connsiteY4" fmla="*/ 977899 h 1967526"/>
                <a:gd name="connsiteX5" fmla="*/ 1813679 w 1900290"/>
                <a:gd name="connsiteY5" fmla="*/ 1163636 h 1967526"/>
                <a:gd name="connsiteX6" fmla="*/ 1201698 w 1900290"/>
                <a:gd name="connsiteY6" fmla="*/ 987424 h 1967526"/>
                <a:gd name="connsiteX7" fmla="*/ 1177885 w 1900290"/>
                <a:gd name="connsiteY7" fmla="*/ 887411 h 1967526"/>
                <a:gd name="connsiteX8" fmla="*/ 1123117 w 1900290"/>
                <a:gd name="connsiteY8" fmla="*/ 851692 h 1967526"/>
                <a:gd name="connsiteX9" fmla="*/ 968335 w 1900290"/>
                <a:gd name="connsiteY9" fmla="*/ 1025524 h 1967526"/>
                <a:gd name="connsiteX10" fmla="*/ 1215985 w 1900290"/>
                <a:gd name="connsiteY10" fmla="*/ 1239836 h 1967526"/>
                <a:gd name="connsiteX11" fmla="*/ 1239798 w 1900290"/>
                <a:gd name="connsiteY11" fmla="*/ 1339849 h 1967526"/>
                <a:gd name="connsiteX12" fmla="*/ 1214609 w 1900290"/>
                <a:gd name="connsiteY12" fmla="*/ 1899389 h 1967526"/>
                <a:gd name="connsiteX13" fmla="*/ 1062993 w 1900290"/>
                <a:gd name="connsiteY13" fmla="*/ 1915802 h 1967526"/>
                <a:gd name="connsiteX14" fmla="*/ 1004054 w 1900290"/>
                <a:gd name="connsiteY14" fmla="*/ 1273174 h 1967526"/>
                <a:gd name="connsiteX15" fmla="*/ 780217 w 1900290"/>
                <a:gd name="connsiteY15" fmla="*/ 1070767 h 1967526"/>
                <a:gd name="connsiteX16" fmla="*/ 532567 w 1900290"/>
                <a:gd name="connsiteY16" fmla="*/ 1254124 h 1967526"/>
                <a:gd name="connsiteX17" fmla="*/ 399217 w 1900290"/>
                <a:gd name="connsiteY17" fmla="*/ 1211261 h 1967526"/>
                <a:gd name="connsiteX18" fmla="*/ 3929 w 1900290"/>
                <a:gd name="connsiteY18" fmla="*/ 832642 h 1967526"/>
                <a:gd name="connsiteX19" fmla="*/ 127754 w 1900290"/>
                <a:gd name="connsiteY19" fmla="*/ 746917 h 1967526"/>
                <a:gd name="connsiteX20" fmla="*/ 470654 w 1900290"/>
                <a:gd name="connsiteY20" fmla="*/ 1061242 h 1967526"/>
                <a:gd name="connsiteX21" fmla="*/ 620673 w 1900290"/>
                <a:gd name="connsiteY21" fmla="*/ 977899 h 1967526"/>
                <a:gd name="connsiteX22" fmla="*/ 668298 w 1900290"/>
                <a:gd name="connsiteY22" fmla="*/ 913605 h 1967526"/>
                <a:gd name="connsiteX23" fmla="*/ 663535 w 1900290"/>
                <a:gd name="connsiteY23" fmla="*/ 815974 h 1967526"/>
                <a:gd name="connsiteX24" fmla="*/ 1023104 w 1900290"/>
                <a:gd name="connsiteY24" fmla="*/ 496886 h 1967526"/>
                <a:gd name="connsiteX25" fmla="*/ 980242 w 1900290"/>
                <a:gd name="connsiteY25" fmla="*/ 442117 h 1967526"/>
                <a:gd name="connsiteX26" fmla="*/ 865942 w 1900290"/>
                <a:gd name="connsiteY26" fmla="*/ 427830 h 1967526"/>
                <a:gd name="connsiteX27" fmla="*/ 458748 w 1900290"/>
                <a:gd name="connsiteY27" fmla="*/ 651667 h 1967526"/>
                <a:gd name="connsiteX28" fmla="*/ 361117 w 1900290"/>
                <a:gd name="connsiteY28" fmla="*/ 513555 h 1967526"/>
                <a:gd name="connsiteX29" fmla="*/ 818317 w 1900290"/>
                <a:gd name="connsiteY29" fmla="*/ 263524 h 1967526"/>
                <a:gd name="connsiteX30" fmla="*/ 1586666 w 1900290"/>
                <a:gd name="connsiteY30" fmla="*/ 0 h 1967526"/>
                <a:gd name="connsiteX31" fmla="*/ 1786691 w 1900290"/>
                <a:gd name="connsiteY31" fmla="*/ 200025 h 1967526"/>
                <a:gd name="connsiteX32" fmla="*/ 1586666 w 1900290"/>
                <a:gd name="connsiteY32" fmla="*/ 400050 h 1967526"/>
                <a:gd name="connsiteX33" fmla="*/ 1386641 w 1900290"/>
                <a:gd name="connsiteY33" fmla="*/ 200025 h 1967526"/>
                <a:gd name="connsiteX34" fmla="*/ 1586666 w 1900290"/>
                <a:gd name="connsiteY34" fmla="*/ 0 h 1967526"/>
                <a:gd name="connsiteX0" fmla="*/ 818317 w 1900290"/>
                <a:gd name="connsiteY0" fmla="*/ 263524 h 1967526"/>
                <a:gd name="connsiteX1" fmla="*/ 1346954 w 1900290"/>
                <a:gd name="connsiteY1" fmla="*/ 358774 h 1967526"/>
                <a:gd name="connsiteX2" fmla="*/ 1489829 w 1900290"/>
                <a:gd name="connsiteY2" fmla="*/ 484980 h 1967526"/>
                <a:gd name="connsiteX3" fmla="*/ 1413629 w 1900290"/>
                <a:gd name="connsiteY3" fmla="*/ 882649 h 1967526"/>
                <a:gd name="connsiteX4" fmla="*/ 1830348 w 1900290"/>
                <a:gd name="connsiteY4" fmla="*/ 977899 h 1967526"/>
                <a:gd name="connsiteX5" fmla="*/ 1813679 w 1900290"/>
                <a:gd name="connsiteY5" fmla="*/ 1163636 h 1967526"/>
                <a:gd name="connsiteX6" fmla="*/ 1201698 w 1900290"/>
                <a:gd name="connsiteY6" fmla="*/ 987424 h 1967526"/>
                <a:gd name="connsiteX7" fmla="*/ 1177885 w 1900290"/>
                <a:gd name="connsiteY7" fmla="*/ 887411 h 1967526"/>
                <a:gd name="connsiteX8" fmla="*/ 1123117 w 1900290"/>
                <a:gd name="connsiteY8" fmla="*/ 851692 h 1967526"/>
                <a:gd name="connsiteX9" fmla="*/ 968335 w 1900290"/>
                <a:gd name="connsiteY9" fmla="*/ 1025524 h 1967526"/>
                <a:gd name="connsiteX10" fmla="*/ 1215985 w 1900290"/>
                <a:gd name="connsiteY10" fmla="*/ 1239836 h 1967526"/>
                <a:gd name="connsiteX11" fmla="*/ 1239798 w 1900290"/>
                <a:gd name="connsiteY11" fmla="*/ 1339849 h 1967526"/>
                <a:gd name="connsiteX12" fmla="*/ 1214609 w 1900290"/>
                <a:gd name="connsiteY12" fmla="*/ 1899389 h 1967526"/>
                <a:gd name="connsiteX13" fmla="*/ 1062993 w 1900290"/>
                <a:gd name="connsiteY13" fmla="*/ 1915802 h 1967526"/>
                <a:gd name="connsiteX14" fmla="*/ 1004054 w 1900290"/>
                <a:gd name="connsiteY14" fmla="*/ 1273174 h 1967526"/>
                <a:gd name="connsiteX15" fmla="*/ 780217 w 1900290"/>
                <a:gd name="connsiteY15" fmla="*/ 1070767 h 1967526"/>
                <a:gd name="connsiteX16" fmla="*/ 532567 w 1900290"/>
                <a:gd name="connsiteY16" fmla="*/ 1254124 h 1967526"/>
                <a:gd name="connsiteX17" fmla="*/ 399217 w 1900290"/>
                <a:gd name="connsiteY17" fmla="*/ 1211261 h 1967526"/>
                <a:gd name="connsiteX18" fmla="*/ 3929 w 1900290"/>
                <a:gd name="connsiteY18" fmla="*/ 832642 h 1967526"/>
                <a:gd name="connsiteX19" fmla="*/ 127754 w 1900290"/>
                <a:gd name="connsiteY19" fmla="*/ 746917 h 1967526"/>
                <a:gd name="connsiteX20" fmla="*/ 470654 w 1900290"/>
                <a:gd name="connsiteY20" fmla="*/ 1061242 h 1967526"/>
                <a:gd name="connsiteX21" fmla="*/ 620673 w 1900290"/>
                <a:gd name="connsiteY21" fmla="*/ 977899 h 1967526"/>
                <a:gd name="connsiteX22" fmla="*/ 668298 w 1900290"/>
                <a:gd name="connsiteY22" fmla="*/ 913605 h 1967526"/>
                <a:gd name="connsiteX23" fmla="*/ 663535 w 1900290"/>
                <a:gd name="connsiteY23" fmla="*/ 815974 h 1967526"/>
                <a:gd name="connsiteX24" fmla="*/ 1023104 w 1900290"/>
                <a:gd name="connsiteY24" fmla="*/ 496886 h 1967526"/>
                <a:gd name="connsiteX25" fmla="*/ 980242 w 1900290"/>
                <a:gd name="connsiteY25" fmla="*/ 442117 h 1967526"/>
                <a:gd name="connsiteX26" fmla="*/ 865942 w 1900290"/>
                <a:gd name="connsiteY26" fmla="*/ 427830 h 1967526"/>
                <a:gd name="connsiteX27" fmla="*/ 458748 w 1900290"/>
                <a:gd name="connsiteY27" fmla="*/ 651667 h 1967526"/>
                <a:gd name="connsiteX28" fmla="*/ 361117 w 1900290"/>
                <a:gd name="connsiteY28" fmla="*/ 513555 h 1967526"/>
                <a:gd name="connsiteX29" fmla="*/ 818317 w 1900290"/>
                <a:gd name="connsiteY29" fmla="*/ 263524 h 1967526"/>
                <a:gd name="connsiteX30" fmla="*/ 1586666 w 1900290"/>
                <a:gd name="connsiteY30" fmla="*/ 0 h 1967526"/>
                <a:gd name="connsiteX31" fmla="*/ 1786691 w 1900290"/>
                <a:gd name="connsiteY31" fmla="*/ 200025 h 1967526"/>
                <a:gd name="connsiteX32" fmla="*/ 1586666 w 1900290"/>
                <a:gd name="connsiteY32" fmla="*/ 400050 h 1967526"/>
                <a:gd name="connsiteX33" fmla="*/ 1386641 w 1900290"/>
                <a:gd name="connsiteY33" fmla="*/ 200025 h 1967526"/>
                <a:gd name="connsiteX34" fmla="*/ 1586666 w 1900290"/>
                <a:gd name="connsiteY34" fmla="*/ 0 h 1967526"/>
                <a:gd name="connsiteX0" fmla="*/ 818317 w 1900290"/>
                <a:gd name="connsiteY0" fmla="*/ 263524 h 1979358"/>
                <a:gd name="connsiteX1" fmla="*/ 1346954 w 1900290"/>
                <a:gd name="connsiteY1" fmla="*/ 358774 h 1979358"/>
                <a:gd name="connsiteX2" fmla="*/ 1489829 w 1900290"/>
                <a:gd name="connsiteY2" fmla="*/ 484980 h 1979358"/>
                <a:gd name="connsiteX3" fmla="*/ 1413629 w 1900290"/>
                <a:gd name="connsiteY3" fmla="*/ 882649 h 1979358"/>
                <a:gd name="connsiteX4" fmla="*/ 1830348 w 1900290"/>
                <a:gd name="connsiteY4" fmla="*/ 977899 h 1979358"/>
                <a:gd name="connsiteX5" fmla="*/ 1813679 w 1900290"/>
                <a:gd name="connsiteY5" fmla="*/ 1163636 h 1979358"/>
                <a:gd name="connsiteX6" fmla="*/ 1201698 w 1900290"/>
                <a:gd name="connsiteY6" fmla="*/ 987424 h 1979358"/>
                <a:gd name="connsiteX7" fmla="*/ 1177885 w 1900290"/>
                <a:gd name="connsiteY7" fmla="*/ 887411 h 1979358"/>
                <a:gd name="connsiteX8" fmla="*/ 1123117 w 1900290"/>
                <a:gd name="connsiteY8" fmla="*/ 851692 h 1979358"/>
                <a:gd name="connsiteX9" fmla="*/ 968335 w 1900290"/>
                <a:gd name="connsiteY9" fmla="*/ 1025524 h 1979358"/>
                <a:gd name="connsiteX10" fmla="*/ 1215985 w 1900290"/>
                <a:gd name="connsiteY10" fmla="*/ 1239836 h 1979358"/>
                <a:gd name="connsiteX11" fmla="*/ 1239798 w 1900290"/>
                <a:gd name="connsiteY11" fmla="*/ 1339849 h 1979358"/>
                <a:gd name="connsiteX12" fmla="*/ 1214609 w 1900290"/>
                <a:gd name="connsiteY12" fmla="*/ 1899389 h 1979358"/>
                <a:gd name="connsiteX13" fmla="*/ 1062993 w 1900290"/>
                <a:gd name="connsiteY13" fmla="*/ 1915802 h 1979358"/>
                <a:gd name="connsiteX14" fmla="*/ 1004054 w 1900290"/>
                <a:gd name="connsiteY14" fmla="*/ 1273174 h 1979358"/>
                <a:gd name="connsiteX15" fmla="*/ 780217 w 1900290"/>
                <a:gd name="connsiteY15" fmla="*/ 1070767 h 1979358"/>
                <a:gd name="connsiteX16" fmla="*/ 532567 w 1900290"/>
                <a:gd name="connsiteY16" fmla="*/ 1254124 h 1979358"/>
                <a:gd name="connsiteX17" fmla="*/ 399217 w 1900290"/>
                <a:gd name="connsiteY17" fmla="*/ 1211261 h 1979358"/>
                <a:gd name="connsiteX18" fmla="*/ 3929 w 1900290"/>
                <a:gd name="connsiteY18" fmla="*/ 832642 h 1979358"/>
                <a:gd name="connsiteX19" fmla="*/ 127754 w 1900290"/>
                <a:gd name="connsiteY19" fmla="*/ 746917 h 1979358"/>
                <a:gd name="connsiteX20" fmla="*/ 470654 w 1900290"/>
                <a:gd name="connsiteY20" fmla="*/ 1061242 h 1979358"/>
                <a:gd name="connsiteX21" fmla="*/ 620673 w 1900290"/>
                <a:gd name="connsiteY21" fmla="*/ 977899 h 1979358"/>
                <a:gd name="connsiteX22" fmla="*/ 668298 w 1900290"/>
                <a:gd name="connsiteY22" fmla="*/ 913605 h 1979358"/>
                <a:gd name="connsiteX23" fmla="*/ 663535 w 1900290"/>
                <a:gd name="connsiteY23" fmla="*/ 815974 h 1979358"/>
                <a:gd name="connsiteX24" fmla="*/ 1023104 w 1900290"/>
                <a:gd name="connsiteY24" fmla="*/ 496886 h 1979358"/>
                <a:gd name="connsiteX25" fmla="*/ 980242 w 1900290"/>
                <a:gd name="connsiteY25" fmla="*/ 442117 h 1979358"/>
                <a:gd name="connsiteX26" fmla="*/ 865942 w 1900290"/>
                <a:gd name="connsiteY26" fmla="*/ 427830 h 1979358"/>
                <a:gd name="connsiteX27" fmla="*/ 458748 w 1900290"/>
                <a:gd name="connsiteY27" fmla="*/ 651667 h 1979358"/>
                <a:gd name="connsiteX28" fmla="*/ 361117 w 1900290"/>
                <a:gd name="connsiteY28" fmla="*/ 513555 h 1979358"/>
                <a:gd name="connsiteX29" fmla="*/ 818317 w 1900290"/>
                <a:gd name="connsiteY29" fmla="*/ 263524 h 1979358"/>
                <a:gd name="connsiteX30" fmla="*/ 1586666 w 1900290"/>
                <a:gd name="connsiteY30" fmla="*/ 0 h 1979358"/>
                <a:gd name="connsiteX31" fmla="*/ 1786691 w 1900290"/>
                <a:gd name="connsiteY31" fmla="*/ 200025 h 1979358"/>
                <a:gd name="connsiteX32" fmla="*/ 1586666 w 1900290"/>
                <a:gd name="connsiteY32" fmla="*/ 400050 h 1979358"/>
                <a:gd name="connsiteX33" fmla="*/ 1386641 w 1900290"/>
                <a:gd name="connsiteY33" fmla="*/ 200025 h 1979358"/>
                <a:gd name="connsiteX34" fmla="*/ 1586666 w 1900290"/>
                <a:gd name="connsiteY34" fmla="*/ 0 h 1979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900290" h="1979358">
                  <a:moveTo>
                    <a:pt x="818317" y="263524"/>
                  </a:moveTo>
                  <a:lnTo>
                    <a:pt x="1346954" y="358774"/>
                  </a:lnTo>
                  <a:lnTo>
                    <a:pt x="1489829" y="484980"/>
                  </a:lnTo>
                  <a:lnTo>
                    <a:pt x="1413629" y="882649"/>
                  </a:lnTo>
                  <a:lnTo>
                    <a:pt x="1830348" y="977899"/>
                  </a:lnTo>
                  <a:cubicBezTo>
                    <a:pt x="1965285" y="1068386"/>
                    <a:pt x="1874003" y="1168400"/>
                    <a:pt x="1813679" y="1163636"/>
                  </a:cubicBezTo>
                  <a:lnTo>
                    <a:pt x="1201698" y="987424"/>
                  </a:lnTo>
                  <a:cubicBezTo>
                    <a:pt x="1162804" y="958848"/>
                    <a:pt x="1173917" y="920749"/>
                    <a:pt x="1177885" y="887411"/>
                  </a:cubicBezTo>
                  <a:lnTo>
                    <a:pt x="1123117" y="851692"/>
                  </a:lnTo>
                  <a:lnTo>
                    <a:pt x="968335" y="1025524"/>
                  </a:lnTo>
                  <a:lnTo>
                    <a:pt x="1215985" y="1239836"/>
                  </a:lnTo>
                  <a:cubicBezTo>
                    <a:pt x="1259642" y="1273174"/>
                    <a:pt x="1246147" y="1316037"/>
                    <a:pt x="1239798" y="1339849"/>
                  </a:cubicBezTo>
                  <a:cubicBezTo>
                    <a:pt x="1178334" y="1461814"/>
                    <a:pt x="1255836" y="1794491"/>
                    <a:pt x="1214609" y="1899389"/>
                  </a:cubicBezTo>
                  <a:cubicBezTo>
                    <a:pt x="1176812" y="2019714"/>
                    <a:pt x="1074435" y="1986481"/>
                    <a:pt x="1062993" y="1915802"/>
                  </a:cubicBezTo>
                  <a:cubicBezTo>
                    <a:pt x="1026370" y="1764526"/>
                    <a:pt x="1052773" y="1453742"/>
                    <a:pt x="1004054" y="1273174"/>
                  </a:cubicBezTo>
                  <a:lnTo>
                    <a:pt x="780217" y="1070767"/>
                  </a:lnTo>
                  <a:lnTo>
                    <a:pt x="532567" y="1254124"/>
                  </a:lnTo>
                  <a:cubicBezTo>
                    <a:pt x="445254" y="1282699"/>
                    <a:pt x="438906" y="1244598"/>
                    <a:pt x="399217" y="1211261"/>
                  </a:cubicBezTo>
                  <a:lnTo>
                    <a:pt x="3929" y="832642"/>
                  </a:lnTo>
                  <a:cubicBezTo>
                    <a:pt x="-14327" y="787398"/>
                    <a:pt x="31711" y="699292"/>
                    <a:pt x="127754" y="746917"/>
                  </a:cubicBezTo>
                  <a:lnTo>
                    <a:pt x="470654" y="1061242"/>
                  </a:lnTo>
                  <a:lnTo>
                    <a:pt x="620673" y="977899"/>
                  </a:lnTo>
                  <a:lnTo>
                    <a:pt x="668298" y="913605"/>
                  </a:lnTo>
                  <a:cubicBezTo>
                    <a:pt x="635754" y="881061"/>
                    <a:pt x="636548" y="850900"/>
                    <a:pt x="663535" y="815974"/>
                  </a:cubicBezTo>
                  <a:lnTo>
                    <a:pt x="1023104" y="496886"/>
                  </a:lnTo>
                  <a:lnTo>
                    <a:pt x="980242" y="442117"/>
                  </a:lnTo>
                  <a:lnTo>
                    <a:pt x="865942" y="427830"/>
                  </a:lnTo>
                  <a:lnTo>
                    <a:pt x="458748" y="651667"/>
                  </a:lnTo>
                  <a:cubicBezTo>
                    <a:pt x="347622" y="658018"/>
                    <a:pt x="329367" y="571498"/>
                    <a:pt x="361117" y="513555"/>
                  </a:cubicBezTo>
                  <a:lnTo>
                    <a:pt x="818317" y="263524"/>
                  </a:lnTo>
                  <a:close/>
                  <a:moveTo>
                    <a:pt x="1586666" y="0"/>
                  </a:moveTo>
                  <a:cubicBezTo>
                    <a:pt x="1697137" y="0"/>
                    <a:pt x="1786691" y="89554"/>
                    <a:pt x="1786691" y="200025"/>
                  </a:cubicBezTo>
                  <a:cubicBezTo>
                    <a:pt x="1786691" y="310496"/>
                    <a:pt x="1697137" y="400050"/>
                    <a:pt x="1586666" y="400050"/>
                  </a:cubicBezTo>
                  <a:cubicBezTo>
                    <a:pt x="1476195" y="400050"/>
                    <a:pt x="1386641" y="310496"/>
                    <a:pt x="1386641" y="200025"/>
                  </a:cubicBezTo>
                  <a:cubicBezTo>
                    <a:pt x="1386641" y="89554"/>
                    <a:pt x="1476195" y="0"/>
                    <a:pt x="1586666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963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316" name="Group 4"/>
            <p:cNvGrpSpPr>
              <a:grpSpLocks noChangeAspect="1"/>
            </p:cNvGrpSpPr>
            <p:nvPr/>
          </p:nvGrpSpPr>
          <p:grpSpPr bwMode="auto">
            <a:xfrm>
              <a:off x="8840788" y="5391150"/>
              <a:ext cx="2343150" cy="1568450"/>
              <a:chOff x="5569" y="3396"/>
              <a:chExt cx="1476" cy="988"/>
            </a:xfrm>
          </p:grpSpPr>
          <p:sp>
            <p:nvSpPr>
              <p:cNvPr id="317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569" y="3396"/>
                <a:ext cx="1476" cy="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8" name="Rectangle 5"/>
              <p:cNvSpPr>
                <a:spLocks noChangeArrowheads="1"/>
              </p:cNvSpPr>
              <p:nvPr/>
            </p:nvSpPr>
            <p:spPr bwMode="auto">
              <a:xfrm>
                <a:off x="6744" y="3782"/>
                <a:ext cx="301" cy="60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9" name="Rectangle 6"/>
              <p:cNvSpPr>
                <a:spLocks noChangeArrowheads="1"/>
              </p:cNvSpPr>
              <p:nvPr/>
            </p:nvSpPr>
            <p:spPr bwMode="auto">
              <a:xfrm>
                <a:off x="6980" y="3826"/>
                <a:ext cx="24" cy="43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0" name="Rectangle 7"/>
              <p:cNvSpPr>
                <a:spLocks noChangeArrowheads="1"/>
              </p:cNvSpPr>
              <p:nvPr/>
            </p:nvSpPr>
            <p:spPr bwMode="auto">
              <a:xfrm>
                <a:off x="6915" y="3826"/>
                <a:ext cx="24" cy="43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1" name="Rectangle 8"/>
              <p:cNvSpPr>
                <a:spLocks noChangeArrowheads="1"/>
              </p:cNvSpPr>
              <p:nvPr/>
            </p:nvSpPr>
            <p:spPr bwMode="auto">
              <a:xfrm>
                <a:off x="6848" y="3826"/>
                <a:ext cx="26" cy="43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2" name="Rectangle 9"/>
              <p:cNvSpPr>
                <a:spLocks noChangeArrowheads="1"/>
              </p:cNvSpPr>
              <p:nvPr/>
            </p:nvSpPr>
            <p:spPr bwMode="auto">
              <a:xfrm>
                <a:off x="6783" y="3826"/>
                <a:ext cx="26" cy="43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3" name="Rectangle 10"/>
              <p:cNvSpPr>
                <a:spLocks noChangeArrowheads="1"/>
              </p:cNvSpPr>
              <p:nvPr/>
            </p:nvSpPr>
            <p:spPr bwMode="auto">
              <a:xfrm>
                <a:off x="6980" y="3891"/>
                <a:ext cx="24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4" name="Rectangle 11"/>
              <p:cNvSpPr>
                <a:spLocks noChangeArrowheads="1"/>
              </p:cNvSpPr>
              <p:nvPr/>
            </p:nvSpPr>
            <p:spPr bwMode="auto">
              <a:xfrm>
                <a:off x="6915" y="3891"/>
                <a:ext cx="24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5" name="Rectangle 12"/>
              <p:cNvSpPr>
                <a:spLocks noChangeArrowheads="1"/>
              </p:cNvSpPr>
              <p:nvPr/>
            </p:nvSpPr>
            <p:spPr bwMode="auto">
              <a:xfrm>
                <a:off x="6848" y="3891"/>
                <a:ext cx="26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6" name="Rectangle 13"/>
              <p:cNvSpPr>
                <a:spLocks noChangeArrowheads="1"/>
              </p:cNvSpPr>
              <p:nvPr/>
            </p:nvSpPr>
            <p:spPr bwMode="auto">
              <a:xfrm>
                <a:off x="6783" y="3891"/>
                <a:ext cx="26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7" name="Rectangle 14"/>
              <p:cNvSpPr>
                <a:spLocks noChangeArrowheads="1"/>
              </p:cNvSpPr>
              <p:nvPr/>
            </p:nvSpPr>
            <p:spPr bwMode="auto">
              <a:xfrm>
                <a:off x="6980" y="3956"/>
                <a:ext cx="24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8" name="Rectangle 15"/>
              <p:cNvSpPr>
                <a:spLocks noChangeArrowheads="1"/>
              </p:cNvSpPr>
              <p:nvPr/>
            </p:nvSpPr>
            <p:spPr bwMode="auto">
              <a:xfrm>
                <a:off x="6915" y="3956"/>
                <a:ext cx="24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9" name="Rectangle 16"/>
              <p:cNvSpPr>
                <a:spLocks noChangeArrowheads="1"/>
              </p:cNvSpPr>
              <p:nvPr/>
            </p:nvSpPr>
            <p:spPr bwMode="auto">
              <a:xfrm>
                <a:off x="6848" y="3956"/>
                <a:ext cx="26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0" name="Rectangle 17"/>
              <p:cNvSpPr>
                <a:spLocks noChangeArrowheads="1"/>
              </p:cNvSpPr>
              <p:nvPr/>
            </p:nvSpPr>
            <p:spPr bwMode="auto">
              <a:xfrm>
                <a:off x="6783" y="3956"/>
                <a:ext cx="26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1" name="Rectangle 18"/>
              <p:cNvSpPr>
                <a:spLocks noChangeArrowheads="1"/>
              </p:cNvSpPr>
              <p:nvPr/>
            </p:nvSpPr>
            <p:spPr bwMode="auto">
              <a:xfrm>
                <a:off x="6980" y="4021"/>
                <a:ext cx="24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2" name="Rectangle 19"/>
              <p:cNvSpPr>
                <a:spLocks noChangeArrowheads="1"/>
              </p:cNvSpPr>
              <p:nvPr/>
            </p:nvSpPr>
            <p:spPr bwMode="auto">
              <a:xfrm>
                <a:off x="6915" y="4021"/>
                <a:ext cx="24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3" name="Rectangle 20"/>
              <p:cNvSpPr>
                <a:spLocks noChangeArrowheads="1"/>
              </p:cNvSpPr>
              <p:nvPr/>
            </p:nvSpPr>
            <p:spPr bwMode="auto">
              <a:xfrm>
                <a:off x="6848" y="4021"/>
                <a:ext cx="26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4" name="Rectangle 21"/>
              <p:cNvSpPr>
                <a:spLocks noChangeArrowheads="1"/>
              </p:cNvSpPr>
              <p:nvPr/>
            </p:nvSpPr>
            <p:spPr bwMode="auto">
              <a:xfrm>
                <a:off x="6783" y="4021"/>
                <a:ext cx="26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5" name="Rectangle 22"/>
              <p:cNvSpPr>
                <a:spLocks noChangeArrowheads="1"/>
              </p:cNvSpPr>
              <p:nvPr/>
            </p:nvSpPr>
            <p:spPr bwMode="auto">
              <a:xfrm>
                <a:off x="6980" y="4088"/>
                <a:ext cx="24" cy="43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" name="Rectangle 23"/>
              <p:cNvSpPr>
                <a:spLocks noChangeArrowheads="1"/>
              </p:cNvSpPr>
              <p:nvPr/>
            </p:nvSpPr>
            <p:spPr bwMode="auto">
              <a:xfrm>
                <a:off x="6915" y="4088"/>
                <a:ext cx="24" cy="43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" name="Rectangle 24"/>
              <p:cNvSpPr>
                <a:spLocks noChangeArrowheads="1"/>
              </p:cNvSpPr>
              <p:nvPr/>
            </p:nvSpPr>
            <p:spPr bwMode="auto">
              <a:xfrm>
                <a:off x="6848" y="4088"/>
                <a:ext cx="26" cy="43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" name="Rectangle 25"/>
              <p:cNvSpPr>
                <a:spLocks noChangeArrowheads="1"/>
              </p:cNvSpPr>
              <p:nvPr/>
            </p:nvSpPr>
            <p:spPr bwMode="auto">
              <a:xfrm>
                <a:off x="6783" y="4088"/>
                <a:ext cx="26" cy="43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" name="Rectangle 26"/>
              <p:cNvSpPr>
                <a:spLocks noChangeArrowheads="1"/>
              </p:cNvSpPr>
              <p:nvPr/>
            </p:nvSpPr>
            <p:spPr bwMode="auto">
              <a:xfrm>
                <a:off x="6980" y="4153"/>
                <a:ext cx="24" cy="44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0" name="Rectangle 27"/>
              <p:cNvSpPr>
                <a:spLocks noChangeArrowheads="1"/>
              </p:cNvSpPr>
              <p:nvPr/>
            </p:nvSpPr>
            <p:spPr bwMode="auto">
              <a:xfrm>
                <a:off x="6915" y="4153"/>
                <a:ext cx="24" cy="44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1" name="Rectangle 28"/>
              <p:cNvSpPr>
                <a:spLocks noChangeArrowheads="1"/>
              </p:cNvSpPr>
              <p:nvPr/>
            </p:nvSpPr>
            <p:spPr bwMode="auto">
              <a:xfrm>
                <a:off x="6848" y="4153"/>
                <a:ext cx="26" cy="44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2" name="Rectangle 29"/>
              <p:cNvSpPr>
                <a:spLocks noChangeArrowheads="1"/>
              </p:cNvSpPr>
              <p:nvPr/>
            </p:nvSpPr>
            <p:spPr bwMode="auto">
              <a:xfrm>
                <a:off x="6783" y="4153"/>
                <a:ext cx="26" cy="44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3" name="Rectangle 30"/>
              <p:cNvSpPr>
                <a:spLocks noChangeArrowheads="1"/>
              </p:cNvSpPr>
              <p:nvPr/>
            </p:nvSpPr>
            <p:spPr bwMode="auto">
              <a:xfrm>
                <a:off x="6980" y="4218"/>
                <a:ext cx="24" cy="46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4" name="Rectangle 31"/>
              <p:cNvSpPr>
                <a:spLocks noChangeArrowheads="1"/>
              </p:cNvSpPr>
              <p:nvPr/>
            </p:nvSpPr>
            <p:spPr bwMode="auto">
              <a:xfrm>
                <a:off x="6915" y="4218"/>
                <a:ext cx="24" cy="46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5" name="Rectangle 32"/>
              <p:cNvSpPr>
                <a:spLocks noChangeArrowheads="1"/>
              </p:cNvSpPr>
              <p:nvPr/>
            </p:nvSpPr>
            <p:spPr bwMode="auto">
              <a:xfrm>
                <a:off x="6848" y="4218"/>
                <a:ext cx="26" cy="46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6" name="Rectangle 33"/>
              <p:cNvSpPr>
                <a:spLocks noChangeArrowheads="1"/>
              </p:cNvSpPr>
              <p:nvPr/>
            </p:nvSpPr>
            <p:spPr bwMode="auto">
              <a:xfrm>
                <a:off x="6783" y="4218"/>
                <a:ext cx="26" cy="46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7" name="Rectangle 34"/>
              <p:cNvSpPr>
                <a:spLocks noChangeArrowheads="1"/>
              </p:cNvSpPr>
              <p:nvPr/>
            </p:nvSpPr>
            <p:spPr bwMode="auto">
              <a:xfrm>
                <a:off x="6980" y="4283"/>
                <a:ext cx="24" cy="46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8" name="Rectangle 35"/>
              <p:cNvSpPr>
                <a:spLocks noChangeArrowheads="1"/>
              </p:cNvSpPr>
              <p:nvPr/>
            </p:nvSpPr>
            <p:spPr bwMode="auto">
              <a:xfrm>
                <a:off x="6915" y="4283"/>
                <a:ext cx="24" cy="46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9" name="Rectangle 36"/>
              <p:cNvSpPr>
                <a:spLocks noChangeArrowheads="1"/>
              </p:cNvSpPr>
              <p:nvPr/>
            </p:nvSpPr>
            <p:spPr bwMode="auto">
              <a:xfrm>
                <a:off x="6848" y="4283"/>
                <a:ext cx="26" cy="46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0" name="Rectangle 37"/>
              <p:cNvSpPr>
                <a:spLocks noChangeArrowheads="1"/>
              </p:cNvSpPr>
              <p:nvPr/>
            </p:nvSpPr>
            <p:spPr bwMode="auto">
              <a:xfrm>
                <a:off x="6783" y="4283"/>
                <a:ext cx="26" cy="46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1" name="Rectangle 38"/>
              <p:cNvSpPr>
                <a:spLocks noChangeArrowheads="1"/>
              </p:cNvSpPr>
              <p:nvPr/>
            </p:nvSpPr>
            <p:spPr bwMode="auto">
              <a:xfrm>
                <a:off x="6100" y="4076"/>
                <a:ext cx="175" cy="308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2" name="Rectangle 39"/>
              <p:cNvSpPr>
                <a:spLocks noChangeArrowheads="1"/>
              </p:cNvSpPr>
              <p:nvPr/>
            </p:nvSpPr>
            <p:spPr bwMode="auto">
              <a:xfrm>
                <a:off x="6620" y="3913"/>
                <a:ext cx="175" cy="471"/>
              </a:xfrm>
              <a:prstGeom prst="rect">
                <a:avLst/>
              </a:pr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3" name="Rectangle 40"/>
              <p:cNvSpPr>
                <a:spLocks noChangeArrowheads="1"/>
              </p:cNvSpPr>
              <p:nvPr/>
            </p:nvSpPr>
            <p:spPr bwMode="auto">
              <a:xfrm>
                <a:off x="6199" y="3915"/>
                <a:ext cx="295" cy="236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4" name="Freeform 41"/>
              <p:cNvSpPr>
                <a:spLocks/>
              </p:cNvSpPr>
              <p:nvPr/>
            </p:nvSpPr>
            <p:spPr bwMode="auto">
              <a:xfrm>
                <a:off x="6368" y="3485"/>
                <a:ext cx="252" cy="899"/>
              </a:xfrm>
              <a:custGeom>
                <a:avLst/>
                <a:gdLst>
                  <a:gd name="T0" fmla="*/ 0 w 252"/>
                  <a:gd name="T1" fmla="*/ 0 h 899"/>
                  <a:gd name="T2" fmla="*/ 252 w 252"/>
                  <a:gd name="T3" fmla="*/ 0 h 899"/>
                  <a:gd name="T4" fmla="*/ 252 w 252"/>
                  <a:gd name="T5" fmla="*/ 899 h 899"/>
                  <a:gd name="T6" fmla="*/ 0 w 252"/>
                  <a:gd name="T7" fmla="*/ 899 h 899"/>
                  <a:gd name="T8" fmla="*/ 0 w 252"/>
                  <a:gd name="T9" fmla="*/ 585 h 899"/>
                  <a:gd name="T10" fmla="*/ 0 w 252"/>
                  <a:gd name="T11" fmla="*/ 0 h 8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2" h="899">
                    <a:moveTo>
                      <a:pt x="0" y="0"/>
                    </a:moveTo>
                    <a:lnTo>
                      <a:pt x="252" y="0"/>
                    </a:lnTo>
                    <a:lnTo>
                      <a:pt x="252" y="899"/>
                    </a:lnTo>
                    <a:lnTo>
                      <a:pt x="0" y="899"/>
                    </a:lnTo>
                    <a:lnTo>
                      <a:pt x="0" y="58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5" name="Freeform 42"/>
              <p:cNvSpPr>
                <a:spLocks/>
              </p:cNvSpPr>
              <p:nvPr/>
            </p:nvSpPr>
            <p:spPr bwMode="auto">
              <a:xfrm>
                <a:off x="6199" y="3918"/>
                <a:ext cx="169" cy="466"/>
              </a:xfrm>
              <a:custGeom>
                <a:avLst/>
                <a:gdLst>
                  <a:gd name="T0" fmla="*/ 0 w 169"/>
                  <a:gd name="T1" fmla="*/ 233 h 466"/>
                  <a:gd name="T2" fmla="*/ 0 w 169"/>
                  <a:gd name="T3" fmla="*/ 466 h 466"/>
                  <a:gd name="T4" fmla="*/ 169 w 169"/>
                  <a:gd name="T5" fmla="*/ 466 h 466"/>
                  <a:gd name="T6" fmla="*/ 169 w 169"/>
                  <a:gd name="T7" fmla="*/ 0 h 466"/>
                  <a:gd name="T8" fmla="*/ 0 w 169"/>
                  <a:gd name="T9" fmla="*/ 233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" h="466">
                    <a:moveTo>
                      <a:pt x="0" y="233"/>
                    </a:moveTo>
                    <a:lnTo>
                      <a:pt x="0" y="466"/>
                    </a:lnTo>
                    <a:lnTo>
                      <a:pt x="169" y="466"/>
                    </a:lnTo>
                    <a:lnTo>
                      <a:pt x="169" y="0"/>
                    </a:lnTo>
                    <a:lnTo>
                      <a:pt x="0" y="233"/>
                    </a:lnTo>
                    <a:close/>
                  </a:path>
                </a:pathLst>
              </a:cu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6" name="Rectangle 43"/>
              <p:cNvSpPr>
                <a:spLocks noChangeArrowheads="1"/>
              </p:cNvSpPr>
              <p:nvPr/>
            </p:nvSpPr>
            <p:spPr bwMode="auto">
              <a:xfrm>
                <a:off x="6399" y="3534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7" name="Rectangle 44"/>
              <p:cNvSpPr>
                <a:spLocks noChangeArrowheads="1"/>
              </p:cNvSpPr>
              <p:nvPr/>
            </p:nvSpPr>
            <p:spPr bwMode="auto">
              <a:xfrm>
                <a:off x="6455" y="3534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8" name="Rectangle 45"/>
              <p:cNvSpPr>
                <a:spLocks noChangeArrowheads="1"/>
              </p:cNvSpPr>
              <p:nvPr/>
            </p:nvSpPr>
            <p:spPr bwMode="auto">
              <a:xfrm>
                <a:off x="6508" y="3534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9" name="Rectangle 46"/>
              <p:cNvSpPr>
                <a:spLocks noChangeArrowheads="1"/>
              </p:cNvSpPr>
              <p:nvPr/>
            </p:nvSpPr>
            <p:spPr bwMode="auto">
              <a:xfrm>
                <a:off x="6563" y="3534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0" name="Rectangle 47"/>
              <p:cNvSpPr>
                <a:spLocks noChangeArrowheads="1"/>
              </p:cNvSpPr>
              <p:nvPr/>
            </p:nvSpPr>
            <p:spPr bwMode="auto">
              <a:xfrm>
                <a:off x="6399" y="3605"/>
                <a:ext cx="26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1" name="Rectangle 48"/>
              <p:cNvSpPr>
                <a:spLocks noChangeArrowheads="1"/>
              </p:cNvSpPr>
              <p:nvPr/>
            </p:nvSpPr>
            <p:spPr bwMode="auto">
              <a:xfrm>
                <a:off x="6455" y="3605"/>
                <a:ext cx="25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2" name="Rectangle 49"/>
              <p:cNvSpPr>
                <a:spLocks noChangeArrowheads="1"/>
              </p:cNvSpPr>
              <p:nvPr/>
            </p:nvSpPr>
            <p:spPr bwMode="auto">
              <a:xfrm>
                <a:off x="6508" y="3605"/>
                <a:ext cx="25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3" name="Rectangle 50"/>
              <p:cNvSpPr>
                <a:spLocks noChangeArrowheads="1"/>
              </p:cNvSpPr>
              <p:nvPr/>
            </p:nvSpPr>
            <p:spPr bwMode="auto">
              <a:xfrm>
                <a:off x="6563" y="3605"/>
                <a:ext cx="25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4" name="Rectangle 51"/>
              <p:cNvSpPr>
                <a:spLocks noChangeArrowheads="1"/>
              </p:cNvSpPr>
              <p:nvPr/>
            </p:nvSpPr>
            <p:spPr bwMode="auto">
              <a:xfrm>
                <a:off x="6399" y="3674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5" name="Rectangle 52"/>
              <p:cNvSpPr>
                <a:spLocks noChangeArrowheads="1"/>
              </p:cNvSpPr>
              <p:nvPr/>
            </p:nvSpPr>
            <p:spPr bwMode="auto">
              <a:xfrm>
                <a:off x="6455" y="3674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6" name="Rectangle 53"/>
              <p:cNvSpPr>
                <a:spLocks noChangeArrowheads="1"/>
              </p:cNvSpPr>
              <p:nvPr/>
            </p:nvSpPr>
            <p:spPr bwMode="auto">
              <a:xfrm>
                <a:off x="6508" y="3674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7" name="Rectangle 54"/>
              <p:cNvSpPr>
                <a:spLocks noChangeArrowheads="1"/>
              </p:cNvSpPr>
              <p:nvPr/>
            </p:nvSpPr>
            <p:spPr bwMode="auto">
              <a:xfrm>
                <a:off x="6563" y="3674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8" name="Rectangle 55"/>
              <p:cNvSpPr>
                <a:spLocks noChangeArrowheads="1"/>
              </p:cNvSpPr>
              <p:nvPr/>
            </p:nvSpPr>
            <p:spPr bwMode="auto">
              <a:xfrm>
                <a:off x="6399" y="3745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9" name="Rectangle 56"/>
              <p:cNvSpPr>
                <a:spLocks noChangeArrowheads="1"/>
              </p:cNvSpPr>
              <p:nvPr/>
            </p:nvSpPr>
            <p:spPr bwMode="auto">
              <a:xfrm>
                <a:off x="6455" y="3745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0" name="Rectangle 57"/>
              <p:cNvSpPr>
                <a:spLocks noChangeArrowheads="1"/>
              </p:cNvSpPr>
              <p:nvPr/>
            </p:nvSpPr>
            <p:spPr bwMode="auto">
              <a:xfrm>
                <a:off x="6508" y="3745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1" name="Rectangle 58"/>
              <p:cNvSpPr>
                <a:spLocks noChangeArrowheads="1"/>
              </p:cNvSpPr>
              <p:nvPr/>
            </p:nvSpPr>
            <p:spPr bwMode="auto">
              <a:xfrm>
                <a:off x="6563" y="3745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2" name="Rectangle 59"/>
              <p:cNvSpPr>
                <a:spLocks noChangeArrowheads="1"/>
              </p:cNvSpPr>
              <p:nvPr/>
            </p:nvSpPr>
            <p:spPr bwMode="auto">
              <a:xfrm>
                <a:off x="6399" y="3816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3" name="Rectangle 60"/>
              <p:cNvSpPr>
                <a:spLocks noChangeArrowheads="1"/>
              </p:cNvSpPr>
              <p:nvPr/>
            </p:nvSpPr>
            <p:spPr bwMode="auto">
              <a:xfrm>
                <a:off x="6455" y="3816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4" name="Rectangle 61"/>
              <p:cNvSpPr>
                <a:spLocks noChangeArrowheads="1"/>
              </p:cNvSpPr>
              <p:nvPr/>
            </p:nvSpPr>
            <p:spPr bwMode="auto">
              <a:xfrm>
                <a:off x="6508" y="3816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5" name="Rectangle 62"/>
              <p:cNvSpPr>
                <a:spLocks noChangeArrowheads="1"/>
              </p:cNvSpPr>
              <p:nvPr/>
            </p:nvSpPr>
            <p:spPr bwMode="auto">
              <a:xfrm>
                <a:off x="6563" y="3816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6" name="Rectangle 63"/>
              <p:cNvSpPr>
                <a:spLocks noChangeArrowheads="1"/>
              </p:cNvSpPr>
              <p:nvPr/>
            </p:nvSpPr>
            <p:spPr bwMode="auto">
              <a:xfrm>
                <a:off x="6399" y="3887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7" name="Rectangle 64"/>
              <p:cNvSpPr>
                <a:spLocks noChangeArrowheads="1"/>
              </p:cNvSpPr>
              <p:nvPr/>
            </p:nvSpPr>
            <p:spPr bwMode="auto">
              <a:xfrm>
                <a:off x="6455" y="3887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8" name="Rectangle 65"/>
              <p:cNvSpPr>
                <a:spLocks noChangeArrowheads="1"/>
              </p:cNvSpPr>
              <p:nvPr/>
            </p:nvSpPr>
            <p:spPr bwMode="auto">
              <a:xfrm>
                <a:off x="6508" y="3887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9" name="Rectangle 66"/>
              <p:cNvSpPr>
                <a:spLocks noChangeArrowheads="1"/>
              </p:cNvSpPr>
              <p:nvPr/>
            </p:nvSpPr>
            <p:spPr bwMode="auto">
              <a:xfrm>
                <a:off x="6563" y="3887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0" name="Rectangle 67"/>
              <p:cNvSpPr>
                <a:spLocks noChangeArrowheads="1"/>
              </p:cNvSpPr>
              <p:nvPr/>
            </p:nvSpPr>
            <p:spPr bwMode="auto">
              <a:xfrm>
                <a:off x="6399" y="3958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1" name="Rectangle 68"/>
              <p:cNvSpPr>
                <a:spLocks noChangeArrowheads="1"/>
              </p:cNvSpPr>
              <p:nvPr/>
            </p:nvSpPr>
            <p:spPr bwMode="auto">
              <a:xfrm>
                <a:off x="6455" y="3958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2" name="Rectangle 69"/>
              <p:cNvSpPr>
                <a:spLocks noChangeArrowheads="1"/>
              </p:cNvSpPr>
              <p:nvPr/>
            </p:nvSpPr>
            <p:spPr bwMode="auto">
              <a:xfrm>
                <a:off x="6508" y="3958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3" name="Rectangle 70"/>
              <p:cNvSpPr>
                <a:spLocks noChangeArrowheads="1"/>
              </p:cNvSpPr>
              <p:nvPr/>
            </p:nvSpPr>
            <p:spPr bwMode="auto">
              <a:xfrm>
                <a:off x="6563" y="3958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4" name="Rectangle 71"/>
              <p:cNvSpPr>
                <a:spLocks noChangeArrowheads="1"/>
              </p:cNvSpPr>
              <p:nvPr/>
            </p:nvSpPr>
            <p:spPr bwMode="auto">
              <a:xfrm>
                <a:off x="6399" y="4096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5" name="Rectangle 72"/>
              <p:cNvSpPr>
                <a:spLocks noChangeArrowheads="1"/>
              </p:cNvSpPr>
              <p:nvPr/>
            </p:nvSpPr>
            <p:spPr bwMode="auto">
              <a:xfrm>
                <a:off x="6455" y="4096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6" name="Rectangle 73"/>
              <p:cNvSpPr>
                <a:spLocks noChangeArrowheads="1"/>
              </p:cNvSpPr>
              <p:nvPr/>
            </p:nvSpPr>
            <p:spPr bwMode="auto">
              <a:xfrm>
                <a:off x="6508" y="4096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7" name="Rectangle 74"/>
              <p:cNvSpPr>
                <a:spLocks noChangeArrowheads="1"/>
              </p:cNvSpPr>
              <p:nvPr/>
            </p:nvSpPr>
            <p:spPr bwMode="auto">
              <a:xfrm>
                <a:off x="6563" y="4096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8" name="Rectangle 75"/>
              <p:cNvSpPr>
                <a:spLocks noChangeArrowheads="1"/>
              </p:cNvSpPr>
              <p:nvPr/>
            </p:nvSpPr>
            <p:spPr bwMode="auto">
              <a:xfrm>
                <a:off x="6399" y="4023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9" name="Rectangle 76"/>
              <p:cNvSpPr>
                <a:spLocks noChangeArrowheads="1"/>
              </p:cNvSpPr>
              <p:nvPr/>
            </p:nvSpPr>
            <p:spPr bwMode="auto">
              <a:xfrm>
                <a:off x="6455" y="4023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0" name="Rectangle 77"/>
              <p:cNvSpPr>
                <a:spLocks noChangeArrowheads="1"/>
              </p:cNvSpPr>
              <p:nvPr/>
            </p:nvSpPr>
            <p:spPr bwMode="auto">
              <a:xfrm>
                <a:off x="6508" y="4023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1" name="Rectangle 78"/>
              <p:cNvSpPr>
                <a:spLocks noChangeArrowheads="1"/>
              </p:cNvSpPr>
              <p:nvPr/>
            </p:nvSpPr>
            <p:spPr bwMode="auto">
              <a:xfrm>
                <a:off x="6563" y="4023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2" name="Rectangle 79"/>
              <p:cNvSpPr>
                <a:spLocks noChangeArrowheads="1"/>
              </p:cNvSpPr>
              <p:nvPr/>
            </p:nvSpPr>
            <p:spPr bwMode="auto">
              <a:xfrm>
                <a:off x="6399" y="4167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3" name="Rectangle 80"/>
              <p:cNvSpPr>
                <a:spLocks noChangeArrowheads="1"/>
              </p:cNvSpPr>
              <p:nvPr/>
            </p:nvSpPr>
            <p:spPr bwMode="auto">
              <a:xfrm>
                <a:off x="6455" y="4167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4" name="Rectangle 81"/>
              <p:cNvSpPr>
                <a:spLocks noChangeArrowheads="1"/>
              </p:cNvSpPr>
              <p:nvPr/>
            </p:nvSpPr>
            <p:spPr bwMode="auto">
              <a:xfrm>
                <a:off x="6508" y="4167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5" name="Rectangle 82"/>
              <p:cNvSpPr>
                <a:spLocks noChangeArrowheads="1"/>
              </p:cNvSpPr>
              <p:nvPr/>
            </p:nvSpPr>
            <p:spPr bwMode="auto">
              <a:xfrm>
                <a:off x="6563" y="4167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6" name="Rectangle 83"/>
              <p:cNvSpPr>
                <a:spLocks noChangeArrowheads="1"/>
              </p:cNvSpPr>
              <p:nvPr/>
            </p:nvSpPr>
            <p:spPr bwMode="auto">
              <a:xfrm>
                <a:off x="6399" y="4240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7" name="Rectangle 84"/>
              <p:cNvSpPr>
                <a:spLocks noChangeArrowheads="1"/>
              </p:cNvSpPr>
              <p:nvPr/>
            </p:nvSpPr>
            <p:spPr bwMode="auto">
              <a:xfrm>
                <a:off x="6455" y="4240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8" name="Rectangle 85"/>
              <p:cNvSpPr>
                <a:spLocks noChangeArrowheads="1"/>
              </p:cNvSpPr>
              <p:nvPr/>
            </p:nvSpPr>
            <p:spPr bwMode="auto">
              <a:xfrm>
                <a:off x="6508" y="4240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9" name="Rectangle 86"/>
              <p:cNvSpPr>
                <a:spLocks noChangeArrowheads="1"/>
              </p:cNvSpPr>
              <p:nvPr/>
            </p:nvSpPr>
            <p:spPr bwMode="auto">
              <a:xfrm>
                <a:off x="6563" y="4240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0" name="Rectangle 87"/>
              <p:cNvSpPr>
                <a:spLocks noChangeArrowheads="1"/>
              </p:cNvSpPr>
              <p:nvPr/>
            </p:nvSpPr>
            <p:spPr bwMode="auto">
              <a:xfrm>
                <a:off x="6399" y="4311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1" name="Rectangle 88"/>
              <p:cNvSpPr>
                <a:spLocks noChangeArrowheads="1"/>
              </p:cNvSpPr>
              <p:nvPr/>
            </p:nvSpPr>
            <p:spPr bwMode="auto">
              <a:xfrm>
                <a:off x="6455" y="4311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2" name="Rectangle 89"/>
              <p:cNvSpPr>
                <a:spLocks noChangeArrowheads="1"/>
              </p:cNvSpPr>
              <p:nvPr/>
            </p:nvSpPr>
            <p:spPr bwMode="auto">
              <a:xfrm>
                <a:off x="6508" y="4311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3" name="Rectangle 90"/>
              <p:cNvSpPr>
                <a:spLocks noChangeArrowheads="1"/>
              </p:cNvSpPr>
              <p:nvPr/>
            </p:nvSpPr>
            <p:spPr bwMode="auto">
              <a:xfrm>
                <a:off x="6563" y="4311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4" name="Rectangle 91"/>
              <p:cNvSpPr>
                <a:spLocks noChangeArrowheads="1"/>
              </p:cNvSpPr>
              <p:nvPr/>
            </p:nvSpPr>
            <p:spPr bwMode="auto">
              <a:xfrm>
                <a:off x="6216" y="3958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5" name="Rectangle 92"/>
              <p:cNvSpPr>
                <a:spLocks noChangeArrowheads="1"/>
              </p:cNvSpPr>
              <p:nvPr/>
            </p:nvSpPr>
            <p:spPr bwMode="auto">
              <a:xfrm>
                <a:off x="6272" y="3958"/>
                <a:ext cx="23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6" name="Rectangle 93"/>
              <p:cNvSpPr>
                <a:spLocks noChangeArrowheads="1"/>
              </p:cNvSpPr>
              <p:nvPr/>
            </p:nvSpPr>
            <p:spPr bwMode="auto">
              <a:xfrm>
                <a:off x="6325" y="3958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7" name="Rectangle 94"/>
              <p:cNvSpPr>
                <a:spLocks noChangeArrowheads="1"/>
              </p:cNvSpPr>
              <p:nvPr/>
            </p:nvSpPr>
            <p:spPr bwMode="auto">
              <a:xfrm>
                <a:off x="6216" y="4029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8" name="Rectangle 95"/>
              <p:cNvSpPr>
                <a:spLocks noChangeArrowheads="1"/>
              </p:cNvSpPr>
              <p:nvPr/>
            </p:nvSpPr>
            <p:spPr bwMode="auto">
              <a:xfrm>
                <a:off x="6272" y="4029"/>
                <a:ext cx="23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9" name="Rectangle 96"/>
              <p:cNvSpPr>
                <a:spLocks noChangeArrowheads="1"/>
              </p:cNvSpPr>
              <p:nvPr/>
            </p:nvSpPr>
            <p:spPr bwMode="auto">
              <a:xfrm>
                <a:off x="6325" y="4029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0" name="Rectangle 97"/>
              <p:cNvSpPr>
                <a:spLocks noChangeArrowheads="1"/>
              </p:cNvSpPr>
              <p:nvPr/>
            </p:nvSpPr>
            <p:spPr bwMode="auto">
              <a:xfrm>
                <a:off x="6216" y="4094"/>
                <a:ext cx="26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1" name="Rectangle 98"/>
              <p:cNvSpPr>
                <a:spLocks noChangeArrowheads="1"/>
              </p:cNvSpPr>
              <p:nvPr/>
            </p:nvSpPr>
            <p:spPr bwMode="auto">
              <a:xfrm>
                <a:off x="6272" y="4094"/>
                <a:ext cx="23" cy="47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2" name="Rectangle 99"/>
              <p:cNvSpPr>
                <a:spLocks noChangeArrowheads="1"/>
              </p:cNvSpPr>
              <p:nvPr/>
            </p:nvSpPr>
            <p:spPr bwMode="auto">
              <a:xfrm>
                <a:off x="6325" y="4094"/>
                <a:ext cx="25" cy="47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3" name="Rectangle 100"/>
              <p:cNvSpPr>
                <a:spLocks noChangeArrowheads="1"/>
              </p:cNvSpPr>
              <p:nvPr/>
            </p:nvSpPr>
            <p:spPr bwMode="auto">
              <a:xfrm>
                <a:off x="6216" y="4159"/>
                <a:ext cx="26" cy="47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4" name="Rectangle 101"/>
              <p:cNvSpPr>
                <a:spLocks noChangeArrowheads="1"/>
              </p:cNvSpPr>
              <p:nvPr/>
            </p:nvSpPr>
            <p:spPr bwMode="auto">
              <a:xfrm>
                <a:off x="6272" y="4159"/>
                <a:ext cx="23" cy="47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5" name="Rectangle 102"/>
              <p:cNvSpPr>
                <a:spLocks noChangeArrowheads="1"/>
              </p:cNvSpPr>
              <p:nvPr/>
            </p:nvSpPr>
            <p:spPr bwMode="auto">
              <a:xfrm>
                <a:off x="6325" y="4159"/>
                <a:ext cx="25" cy="47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6" name="Rectangle 103"/>
              <p:cNvSpPr>
                <a:spLocks noChangeArrowheads="1"/>
              </p:cNvSpPr>
              <p:nvPr/>
            </p:nvSpPr>
            <p:spPr bwMode="auto">
              <a:xfrm>
                <a:off x="6216" y="4226"/>
                <a:ext cx="26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7" name="Rectangle 104"/>
              <p:cNvSpPr>
                <a:spLocks noChangeArrowheads="1"/>
              </p:cNvSpPr>
              <p:nvPr/>
            </p:nvSpPr>
            <p:spPr bwMode="auto">
              <a:xfrm>
                <a:off x="6272" y="4226"/>
                <a:ext cx="23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8" name="Rectangle 105"/>
              <p:cNvSpPr>
                <a:spLocks noChangeArrowheads="1"/>
              </p:cNvSpPr>
              <p:nvPr/>
            </p:nvSpPr>
            <p:spPr bwMode="auto">
              <a:xfrm>
                <a:off x="6325" y="4226"/>
                <a:ext cx="25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9" name="Rectangle 106"/>
              <p:cNvSpPr>
                <a:spLocks noChangeArrowheads="1"/>
              </p:cNvSpPr>
              <p:nvPr/>
            </p:nvSpPr>
            <p:spPr bwMode="auto">
              <a:xfrm>
                <a:off x="6216" y="4291"/>
                <a:ext cx="26" cy="48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0" name="Rectangle 107"/>
              <p:cNvSpPr>
                <a:spLocks noChangeArrowheads="1"/>
              </p:cNvSpPr>
              <p:nvPr/>
            </p:nvSpPr>
            <p:spPr bwMode="auto">
              <a:xfrm>
                <a:off x="6272" y="4291"/>
                <a:ext cx="23" cy="48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1" name="Rectangle 108"/>
              <p:cNvSpPr>
                <a:spLocks noChangeArrowheads="1"/>
              </p:cNvSpPr>
              <p:nvPr/>
            </p:nvSpPr>
            <p:spPr bwMode="auto">
              <a:xfrm>
                <a:off x="6325" y="4291"/>
                <a:ext cx="25" cy="48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2" name="Rectangle 109"/>
              <p:cNvSpPr>
                <a:spLocks noChangeArrowheads="1"/>
              </p:cNvSpPr>
              <p:nvPr/>
            </p:nvSpPr>
            <p:spPr bwMode="auto">
              <a:xfrm>
                <a:off x="6508" y="3437"/>
                <a:ext cx="80" cy="48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3" name="Rectangle 110"/>
              <p:cNvSpPr>
                <a:spLocks noChangeArrowheads="1"/>
              </p:cNvSpPr>
              <p:nvPr/>
            </p:nvSpPr>
            <p:spPr bwMode="auto">
              <a:xfrm>
                <a:off x="6425" y="3408"/>
                <a:ext cx="16" cy="77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4" name="Freeform 111"/>
              <p:cNvSpPr>
                <a:spLocks/>
              </p:cNvSpPr>
              <p:nvPr/>
            </p:nvSpPr>
            <p:spPr bwMode="auto">
              <a:xfrm>
                <a:off x="5890" y="3674"/>
                <a:ext cx="183" cy="710"/>
              </a:xfrm>
              <a:custGeom>
                <a:avLst/>
                <a:gdLst>
                  <a:gd name="T0" fmla="*/ 0 w 183"/>
                  <a:gd name="T1" fmla="*/ 118 h 710"/>
                  <a:gd name="T2" fmla="*/ 183 w 183"/>
                  <a:gd name="T3" fmla="*/ 0 h 710"/>
                  <a:gd name="T4" fmla="*/ 183 w 183"/>
                  <a:gd name="T5" fmla="*/ 710 h 710"/>
                  <a:gd name="T6" fmla="*/ 0 w 183"/>
                  <a:gd name="T7" fmla="*/ 710 h 710"/>
                  <a:gd name="T8" fmla="*/ 0 w 183"/>
                  <a:gd name="T9" fmla="*/ 118 h 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710">
                    <a:moveTo>
                      <a:pt x="0" y="118"/>
                    </a:moveTo>
                    <a:lnTo>
                      <a:pt x="183" y="0"/>
                    </a:lnTo>
                    <a:lnTo>
                      <a:pt x="183" y="710"/>
                    </a:lnTo>
                    <a:lnTo>
                      <a:pt x="0" y="71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0072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5" name="Rectangle 112"/>
              <p:cNvSpPr>
                <a:spLocks noChangeArrowheads="1"/>
              </p:cNvSpPr>
              <p:nvPr/>
            </p:nvSpPr>
            <p:spPr bwMode="auto">
              <a:xfrm>
                <a:off x="5569" y="3936"/>
                <a:ext cx="98" cy="448"/>
              </a:xfrm>
              <a:prstGeom prst="rect">
                <a:avLst/>
              </a:prstGeom>
              <a:solidFill>
                <a:srgbClr val="6DC2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6" name="Rectangle 113"/>
              <p:cNvSpPr>
                <a:spLocks noChangeArrowheads="1"/>
              </p:cNvSpPr>
              <p:nvPr/>
            </p:nvSpPr>
            <p:spPr bwMode="auto">
              <a:xfrm>
                <a:off x="5618" y="3682"/>
                <a:ext cx="195" cy="702"/>
              </a:xfrm>
              <a:prstGeom prst="rect">
                <a:avLst/>
              </a:prstGeom>
              <a:solidFill>
                <a:srgbClr val="6DC2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7" name="Freeform 114"/>
              <p:cNvSpPr>
                <a:spLocks/>
              </p:cNvSpPr>
              <p:nvPr/>
            </p:nvSpPr>
            <p:spPr bwMode="auto">
              <a:xfrm>
                <a:off x="5665" y="3611"/>
                <a:ext cx="101" cy="71"/>
              </a:xfrm>
              <a:custGeom>
                <a:avLst/>
                <a:gdLst>
                  <a:gd name="T0" fmla="*/ 75 w 101"/>
                  <a:gd name="T1" fmla="*/ 0 h 71"/>
                  <a:gd name="T2" fmla="*/ 26 w 101"/>
                  <a:gd name="T3" fmla="*/ 0 h 71"/>
                  <a:gd name="T4" fmla="*/ 0 w 101"/>
                  <a:gd name="T5" fmla="*/ 71 h 71"/>
                  <a:gd name="T6" fmla="*/ 101 w 101"/>
                  <a:gd name="T7" fmla="*/ 71 h 71"/>
                  <a:gd name="T8" fmla="*/ 75 w 101"/>
                  <a:gd name="T9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71">
                    <a:moveTo>
                      <a:pt x="75" y="0"/>
                    </a:moveTo>
                    <a:lnTo>
                      <a:pt x="26" y="0"/>
                    </a:lnTo>
                    <a:lnTo>
                      <a:pt x="0" y="71"/>
                    </a:lnTo>
                    <a:lnTo>
                      <a:pt x="101" y="71"/>
                    </a:lnTo>
                    <a:lnTo>
                      <a:pt x="75" y="0"/>
                    </a:lnTo>
                    <a:close/>
                  </a:path>
                </a:pathLst>
              </a:custGeom>
              <a:solidFill>
                <a:srgbClr val="6DC2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8" name="Rectangle 115"/>
              <p:cNvSpPr>
                <a:spLocks noChangeArrowheads="1"/>
              </p:cNvSpPr>
              <p:nvPr/>
            </p:nvSpPr>
            <p:spPr bwMode="auto">
              <a:xfrm>
                <a:off x="5707" y="3398"/>
                <a:ext cx="17" cy="244"/>
              </a:xfrm>
              <a:prstGeom prst="rect">
                <a:avLst/>
              </a:prstGeom>
              <a:solidFill>
                <a:srgbClr val="6DC2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9" name="Rectangle 116"/>
              <p:cNvSpPr>
                <a:spLocks noChangeArrowheads="1"/>
              </p:cNvSpPr>
              <p:nvPr/>
            </p:nvSpPr>
            <p:spPr bwMode="auto">
              <a:xfrm>
                <a:off x="5644" y="3706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0" name="Rectangle 117"/>
              <p:cNvSpPr>
                <a:spLocks noChangeArrowheads="1"/>
              </p:cNvSpPr>
              <p:nvPr/>
            </p:nvSpPr>
            <p:spPr bwMode="auto">
              <a:xfrm>
                <a:off x="5685" y="3706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1" name="Rectangle 118"/>
              <p:cNvSpPr>
                <a:spLocks noChangeArrowheads="1"/>
              </p:cNvSpPr>
              <p:nvPr/>
            </p:nvSpPr>
            <p:spPr bwMode="auto">
              <a:xfrm>
                <a:off x="5726" y="3706"/>
                <a:ext cx="20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2" name="Rectangle 119"/>
              <p:cNvSpPr>
                <a:spLocks noChangeArrowheads="1"/>
              </p:cNvSpPr>
              <p:nvPr/>
            </p:nvSpPr>
            <p:spPr bwMode="auto">
              <a:xfrm>
                <a:off x="5768" y="3706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3" name="Rectangle 120"/>
              <p:cNvSpPr>
                <a:spLocks noChangeArrowheads="1"/>
              </p:cNvSpPr>
              <p:nvPr/>
            </p:nvSpPr>
            <p:spPr bwMode="auto">
              <a:xfrm>
                <a:off x="5644" y="3771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4" name="Rectangle 121"/>
              <p:cNvSpPr>
                <a:spLocks noChangeArrowheads="1"/>
              </p:cNvSpPr>
              <p:nvPr/>
            </p:nvSpPr>
            <p:spPr bwMode="auto">
              <a:xfrm>
                <a:off x="5685" y="3771"/>
                <a:ext cx="20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5" name="Rectangle 122"/>
              <p:cNvSpPr>
                <a:spLocks noChangeArrowheads="1"/>
              </p:cNvSpPr>
              <p:nvPr/>
            </p:nvSpPr>
            <p:spPr bwMode="auto">
              <a:xfrm>
                <a:off x="5726" y="3771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6" name="Rectangle 123"/>
              <p:cNvSpPr>
                <a:spLocks noChangeArrowheads="1"/>
              </p:cNvSpPr>
              <p:nvPr/>
            </p:nvSpPr>
            <p:spPr bwMode="auto">
              <a:xfrm>
                <a:off x="5768" y="3771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7" name="Rectangle 124"/>
              <p:cNvSpPr>
                <a:spLocks noChangeArrowheads="1"/>
              </p:cNvSpPr>
              <p:nvPr/>
            </p:nvSpPr>
            <p:spPr bwMode="auto">
              <a:xfrm>
                <a:off x="5644" y="3836"/>
                <a:ext cx="19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8" name="Rectangle 125"/>
              <p:cNvSpPr>
                <a:spLocks noChangeArrowheads="1"/>
              </p:cNvSpPr>
              <p:nvPr/>
            </p:nvSpPr>
            <p:spPr bwMode="auto">
              <a:xfrm>
                <a:off x="5685" y="3836"/>
                <a:ext cx="20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9" name="Rectangle 126"/>
              <p:cNvSpPr>
                <a:spLocks noChangeArrowheads="1"/>
              </p:cNvSpPr>
              <p:nvPr/>
            </p:nvSpPr>
            <p:spPr bwMode="auto">
              <a:xfrm>
                <a:off x="5726" y="3836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0" name="Rectangle 127"/>
              <p:cNvSpPr>
                <a:spLocks noChangeArrowheads="1"/>
              </p:cNvSpPr>
              <p:nvPr/>
            </p:nvSpPr>
            <p:spPr bwMode="auto">
              <a:xfrm>
                <a:off x="5768" y="3836"/>
                <a:ext cx="19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1" name="Rectangle 128"/>
              <p:cNvSpPr>
                <a:spLocks noChangeArrowheads="1"/>
              </p:cNvSpPr>
              <p:nvPr/>
            </p:nvSpPr>
            <p:spPr bwMode="auto">
              <a:xfrm>
                <a:off x="5644" y="3901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2" name="Rectangle 129"/>
              <p:cNvSpPr>
                <a:spLocks noChangeArrowheads="1"/>
              </p:cNvSpPr>
              <p:nvPr/>
            </p:nvSpPr>
            <p:spPr bwMode="auto">
              <a:xfrm>
                <a:off x="5685" y="3901"/>
                <a:ext cx="20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3" name="Rectangle 130"/>
              <p:cNvSpPr>
                <a:spLocks noChangeArrowheads="1"/>
              </p:cNvSpPr>
              <p:nvPr/>
            </p:nvSpPr>
            <p:spPr bwMode="auto">
              <a:xfrm>
                <a:off x="5726" y="3901"/>
                <a:ext cx="20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4" name="Rectangle 131"/>
              <p:cNvSpPr>
                <a:spLocks noChangeArrowheads="1"/>
              </p:cNvSpPr>
              <p:nvPr/>
            </p:nvSpPr>
            <p:spPr bwMode="auto">
              <a:xfrm>
                <a:off x="5768" y="3901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" name="Rectangle 132"/>
              <p:cNvSpPr>
                <a:spLocks noChangeArrowheads="1"/>
              </p:cNvSpPr>
              <p:nvPr/>
            </p:nvSpPr>
            <p:spPr bwMode="auto">
              <a:xfrm>
                <a:off x="5644" y="3968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" name="Rectangle 133"/>
              <p:cNvSpPr>
                <a:spLocks noChangeArrowheads="1"/>
              </p:cNvSpPr>
              <p:nvPr/>
            </p:nvSpPr>
            <p:spPr bwMode="auto">
              <a:xfrm>
                <a:off x="5685" y="3968"/>
                <a:ext cx="20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7" name="Rectangle 134"/>
              <p:cNvSpPr>
                <a:spLocks noChangeArrowheads="1"/>
              </p:cNvSpPr>
              <p:nvPr/>
            </p:nvSpPr>
            <p:spPr bwMode="auto">
              <a:xfrm>
                <a:off x="5726" y="3968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" name="Rectangle 135"/>
              <p:cNvSpPr>
                <a:spLocks noChangeArrowheads="1"/>
              </p:cNvSpPr>
              <p:nvPr/>
            </p:nvSpPr>
            <p:spPr bwMode="auto">
              <a:xfrm>
                <a:off x="5768" y="3968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" name="Rectangle 136"/>
              <p:cNvSpPr>
                <a:spLocks noChangeArrowheads="1"/>
              </p:cNvSpPr>
              <p:nvPr/>
            </p:nvSpPr>
            <p:spPr bwMode="auto">
              <a:xfrm>
                <a:off x="5644" y="4033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0" name="Rectangle 137"/>
              <p:cNvSpPr>
                <a:spLocks noChangeArrowheads="1"/>
              </p:cNvSpPr>
              <p:nvPr/>
            </p:nvSpPr>
            <p:spPr bwMode="auto">
              <a:xfrm>
                <a:off x="5685" y="4033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" name="Rectangle 138"/>
              <p:cNvSpPr>
                <a:spLocks noChangeArrowheads="1"/>
              </p:cNvSpPr>
              <p:nvPr/>
            </p:nvSpPr>
            <p:spPr bwMode="auto">
              <a:xfrm>
                <a:off x="5726" y="4033"/>
                <a:ext cx="20" cy="45"/>
              </a:xfrm>
              <a:prstGeom prst="rect">
                <a:avLst/>
              </a:prstGeom>
              <a:solidFill>
                <a:srgbClr val="FF8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" name="Rectangle 139"/>
              <p:cNvSpPr>
                <a:spLocks noChangeArrowheads="1"/>
              </p:cNvSpPr>
              <p:nvPr/>
            </p:nvSpPr>
            <p:spPr bwMode="auto">
              <a:xfrm>
                <a:off x="5768" y="4033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3" name="Rectangle 140"/>
              <p:cNvSpPr>
                <a:spLocks noChangeArrowheads="1"/>
              </p:cNvSpPr>
              <p:nvPr/>
            </p:nvSpPr>
            <p:spPr bwMode="auto">
              <a:xfrm>
                <a:off x="5644" y="4098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4" name="Rectangle 141"/>
              <p:cNvSpPr>
                <a:spLocks noChangeArrowheads="1"/>
              </p:cNvSpPr>
              <p:nvPr/>
            </p:nvSpPr>
            <p:spPr bwMode="auto">
              <a:xfrm>
                <a:off x="5685" y="4098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5" name="Rectangle 142"/>
              <p:cNvSpPr>
                <a:spLocks noChangeArrowheads="1"/>
              </p:cNvSpPr>
              <p:nvPr/>
            </p:nvSpPr>
            <p:spPr bwMode="auto">
              <a:xfrm>
                <a:off x="5726" y="4098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6" name="Rectangle 143"/>
              <p:cNvSpPr>
                <a:spLocks noChangeArrowheads="1"/>
              </p:cNvSpPr>
              <p:nvPr/>
            </p:nvSpPr>
            <p:spPr bwMode="auto">
              <a:xfrm>
                <a:off x="5768" y="4098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7" name="Rectangle 144"/>
              <p:cNvSpPr>
                <a:spLocks noChangeArrowheads="1"/>
              </p:cNvSpPr>
              <p:nvPr/>
            </p:nvSpPr>
            <p:spPr bwMode="auto">
              <a:xfrm>
                <a:off x="5644" y="4163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8" name="Rectangle 145"/>
              <p:cNvSpPr>
                <a:spLocks noChangeArrowheads="1"/>
              </p:cNvSpPr>
              <p:nvPr/>
            </p:nvSpPr>
            <p:spPr bwMode="auto">
              <a:xfrm>
                <a:off x="5685" y="4163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9" name="Rectangle 146"/>
              <p:cNvSpPr>
                <a:spLocks noChangeArrowheads="1"/>
              </p:cNvSpPr>
              <p:nvPr/>
            </p:nvSpPr>
            <p:spPr bwMode="auto">
              <a:xfrm>
                <a:off x="5726" y="4163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0" name="Rectangle 147"/>
              <p:cNvSpPr>
                <a:spLocks noChangeArrowheads="1"/>
              </p:cNvSpPr>
              <p:nvPr/>
            </p:nvSpPr>
            <p:spPr bwMode="auto">
              <a:xfrm>
                <a:off x="5768" y="4163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1" name="Rectangle 148"/>
              <p:cNvSpPr>
                <a:spLocks noChangeArrowheads="1"/>
              </p:cNvSpPr>
              <p:nvPr/>
            </p:nvSpPr>
            <p:spPr bwMode="auto">
              <a:xfrm>
                <a:off x="5644" y="4228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2" name="Rectangle 149"/>
              <p:cNvSpPr>
                <a:spLocks noChangeArrowheads="1"/>
              </p:cNvSpPr>
              <p:nvPr/>
            </p:nvSpPr>
            <p:spPr bwMode="auto">
              <a:xfrm>
                <a:off x="5685" y="4228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3" name="Rectangle 150"/>
              <p:cNvSpPr>
                <a:spLocks noChangeArrowheads="1"/>
              </p:cNvSpPr>
              <p:nvPr/>
            </p:nvSpPr>
            <p:spPr bwMode="auto">
              <a:xfrm>
                <a:off x="5726" y="4228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4" name="Rectangle 151"/>
              <p:cNvSpPr>
                <a:spLocks noChangeArrowheads="1"/>
              </p:cNvSpPr>
              <p:nvPr/>
            </p:nvSpPr>
            <p:spPr bwMode="auto">
              <a:xfrm>
                <a:off x="5768" y="4228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5" name="Rectangle 152"/>
              <p:cNvSpPr>
                <a:spLocks noChangeArrowheads="1"/>
              </p:cNvSpPr>
              <p:nvPr/>
            </p:nvSpPr>
            <p:spPr bwMode="auto">
              <a:xfrm>
                <a:off x="5644" y="4295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6" name="Rectangle 153"/>
              <p:cNvSpPr>
                <a:spLocks noChangeArrowheads="1"/>
              </p:cNvSpPr>
              <p:nvPr/>
            </p:nvSpPr>
            <p:spPr bwMode="auto">
              <a:xfrm>
                <a:off x="5685" y="4295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7" name="Rectangle 154"/>
              <p:cNvSpPr>
                <a:spLocks noChangeArrowheads="1"/>
              </p:cNvSpPr>
              <p:nvPr/>
            </p:nvSpPr>
            <p:spPr bwMode="auto">
              <a:xfrm>
                <a:off x="5726" y="4295"/>
                <a:ext cx="20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8" name="Rectangle 155"/>
              <p:cNvSpPr>
                <a:spLocks noChangeArrowheads="1"/>
              </p:cNvSpPr>
              <p:nvPr/>
            </p:nvSpPr>
            <p:spPr bwMode="auto">
              <a:xfrm>
                <a:off x="5768" y="4295"/>
                <a:ext cx="19" cy="45"/>
              </a:xfrm>
              <a:prstGeom prst="rect">
                <a:avLst/>
              </a:prstGeom>
              <a:solidFill>
                <a:srgbClr val="E940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9" name="Line 156"/>
              <p:cNvSpPr>
                <a:spLocks noChangeShapeType="1"/>
              </p:cNvSpPr>
              <p:nvPr/>
            </p:nvSpPr>
            <p:spPr bwMode="auto">
              <a:xfrm>
                <a:off x="6045" y="3674"/>
                <a:ext cx="0" cy="710"/>
              </a:xfrm>
              <a:prstGeom prst="line">
                <a:avLst/>
              </a:prstGeom>
              <a:noFill/>
              <a:ln w="22225" cap="flat">
                <a:solidFill>
                  <a:srgbClr val="E9402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0" name="Line 157"/>
              <p:cNvSpPr>
                <a:spLocks noChangeShapeType="1"/>
              </p:cNvSpPr>
              <p:nvPr/>
            </p:nvSpPr>
            <p:spPr bwMode="auto">
              <a:xfrm>
                <a:off x="6012" y="3674"/>
                <a:ext cx="0" cy="710"/>
              </a:xfrm>
              <a:prstGeom prst="line">
                <a:avLst/>
              </a:prstGeom>
              <a:noFill/>
              <a:ln w="22225" cap="flat">
                <a:solidFill>
                  <a:srgbClr val="E9402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1" name="Line 158"/>
              <p:cNvSpPr>
                <a:spLocks noChangeShapeType="1"/>
              </p:cNvSpPr>
              <p:nvPr/>
            </p:nvSpPr>
            <p:spPr bwMode="auto">
              <a:xfrm>
                <a:off x="5980" y="3674"/>
                <a:ext cx="0" cy="710"/>
              </a:xfrm>
              <a:prstGeom prst="line">
                <a:avLst/>
              </a:prstGeom>
              <a:noFill/>
              <a:ln w="22225" cap="flat">
                <a:solidFill>
                  <a:srgbClr val="E9402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2" name="Line 159"/>
              <p:cNvSpPr>
                <a:spLocks noChangeShapeType="1"/>
              </p:cNvSpPr>
              <p:nvPr/>
            </p:nvSpPr>
            <p:spPr bwMode="auto">
              <a:xfrm>
                <a:off x="5947" y="3674"/>
                <a:ext cx="0" cy="710"/>
              </a:xfrm>
              <a:prstGeom prst="line">
                <a:avLst/>
              </a:prstGeom>
              <a:noFill/>
              <a:ln w="22225" cap="flat">
                <a:solidFill>
                  <a:srgbClr val="E9402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3" name="Line 160"/>
              <p:cNvSpPr>
                <a:spLocks noChangeShapeType="1"/>
              </p:cNvSpPr>
              <p:nvPr/>
            </p:nvSpPr>
            <p:spPr bwMode="auto">
              <a:xfrm>
                <a:off x="5915" y="3674"/>
                <a:ext cx="0" cy="710"/>
              </a:xfrm>
              <a:prstGeom prst="line">
                <a:avLst/>
              </a:prstGeom>
              <a:noFill/>
              <a:ln w="22225" cap="flat">
                <a:solidFill>
                  <a:srgbClr val="E9402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4" name="Rectangle 161"/>
              <p:cNvSpPr>
                <a:spLocks noChangeArrowheads="1"/>
              </p:cNvSpPr>
              <p:nvPr/>
            </p:nvSpPr>
            <p:spPr bwMode="auto">
              <a:xfrm>
                <a:off x="6620" y="3936"/>
                <a:ext cx="175" cy="38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5" name="Rectangle 162"/>
              <p:cNvSpPr>
                <a:spLocks noChangeArrowheads="1"/>
              </p:cNvSpPr>
              <p:nvPr/>
            </p:nvSpPr>
            <p:spPr bwMode="auto">
              <a:xfrm>
                <a:off x="6620" y="4001"/>
                <a:ext cx="175" cy="38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6" name="Rectangle 163"/>
              <p:cNvSpPr>
                <a:spLocks noChangeArrowheads="1"/>
              </p:cNvSpPr>
              <p:nvPr/>
            </p:nvSpPr>
            <p:spPr bwMode="auto">
              <a:xfrm>
                <a:off x="6620" y="4068"/>
                <a:ext cx="175" cy="36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7" name="Rectangle 164"/>
              <p:cNvSpPr>
                <a:spLocks noChangeArrowheads="1"/>
              </p:cNvSpPr>
              <p:nvPr/>
            </p:nvSpPr>
            <p:spPr bwMode="auto">
              <a:xfrm>
                <a:off x="6620" y="4133"/>
                <a:ext cx="175" cy="38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8" name="Rectangle 165"/>
              <p:cNvSpPr>
                <a:spLocks noChangeArrowheads="1"/>
              </p:cNvSpPr>
              <p:nvPr/>
            </p:nvSpPr>
            <p:spPr bwMode="auto">
              <a:xfrm>
                <a:off x="6620" y="4199"/>
                <a:ext cx="175" cy="3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9" name="Rectangle 166"/>
              <p:cNvSpPr>
                <a:spLocks noChangeArrowheads="1"/>
              </p:cNvSpPr>
              <p:nvPr/>
            </p:nvSpPr>
            <p:spPr bwMode="auto">
              <a:xfrm>
                <a:off x="6620" y="4264"/>
                <a:ext cx="175" cy="37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0" name="Rectangle 167"/>
              <p:cNvSpPr>
                <a:spLocks noChangeArrowheads="1"/>
              </p:cNvSpPr>
              <p:nvPr/>
            </p:nvSpPr>
            <p:spPr bwMode="auto">
              <a:xfrm>
                <a:off x="6620" y="4331"/>
                <a:ext cx="175" cy="35"/>
              </a:xfrm>
              <a:prstGeom prst="rect">
                <a:avLst/>
              </a:prstGeom>
              <a:solidFill>
                <a:srgbClr val="0018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65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84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59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303" y="1189177"/>
            <a:ext cx="11653395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2000">
                <a:solidFill>
                  <a:srgbClr val="505050"/>
                </a:solidFill>
              </a:defRPr>
            </a:lvl2pPr>
            <a:lvl3pPr marL="224097" indent="0">
              <a:buNone/>
              <a:defRPr>
                <a:solidFill>
                  <a:srgbClr val="505050"/>
                </a:solidFill>
              </a:defRPr>
            </a:lvl3pPr>
            <a:lvl4pPr marL="448193" indent="0">
              <a:buNone/>
              <a:defRPr>
                <a:solidFill>
                  <a:srgbClr val="505050"/>
                </a:solidFill>
              </a:defRPr>
            </a:lvl4pPr>
            <a:lvl5pPr marL="672292" indent="0">
              <a:buNone/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ocument name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9820E-5969-4ECB-9019-D735C2082E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1596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 Layout, Primary Color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303" y="1189177"/>
            <a:ext cx="11653395" cy="187728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2000">
                <a:solidFill>
                  <a:srgbClr val="505050"/>
                </a:solidFill>
              </a:defRPr>
            </a:lvl2pPr>
            <a:lvl3pPr marL="224097" indent="0">
              <a:buNone/>
              <a:defRPr>
                <a:solidFill>
                  <a:srgbClr val="505050"/>
                </a:solidFill>
              </a:defRPr>
            </a:lvl3pPr>
            <a:lvl4pPr marL="448193" indent="0">
              <a:buNone/>
              <a:defRPr>
                <a:solidFill>
                  <a:srgbClr val="505050"/>
                </a:solidFill>
              </a:defRPr>
            </a:lvl4pPr>
            <a:lvl5pPr marL="672292" indent="0">
              <a:buNone/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ocument name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017161" y="6440855"/>
            <a:ext cx="2844904" cy="364224"/>
          </a:xfrm>
          <a:prstGeom prst="rect">
            <a:avLst/>
          </a:prstGeom>
        </p:spPr>
        <p:txBody>
          <a:bodyPr/>
          <a:lstStyle/>
          <a:p>
            <a:fld id="{1A59820E-5969-4ECB-9019-D735C2082E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73530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683" y="1517310"/>
            <a:ext cx="8949308" cy="1608170"/>
          </a:xfrm>
          <a:noFill/>
        </p:spPr>
        <p:txBody>
          <a:bodyPr wrap="square" tIns="91440" bIns="91440" anchor="ctr" anchorCtr="0">
            <a:noAutofit/>
          </a:bodyPr>
          <a:lstStyle>
            <a:lvl1pPr>
              <a:defRPr sz="7059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94" name="Group 93"/>
          <p:cNvGrpSpPr/>
          <p:nvPr userDrawn="1"/>
        </p:nvGrpSpPr>
        <p:grpSpPr>
          <a:xfrm>
            <a:off x="8024687" y="4848026"/>
            <a:ext cx="3921522" cy="1923213"/>
            <a:chOff x="8185599" y="4944536"/>
            <a:chExt cx="4000156" cy="1961499"/>
          </a:xfrm>
        </p:grpSpPr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8185599" y="4944536"/>
              <a:ext cx="1823422" cy="1961499"/>
            </a:xfrm>
            <a:custGeom>
              <a:avLst/>
              <a:gdLst>
                <a:gd name="T0" fmla="*/ 556 w 954"/>
                <a:gd name="T1" fmla="*/ 1009 h 1027"/>
                <a:gd name="T2" fmla="*/ 506 w 954"/>
                <a:gd name="T3" fmla="*/ 919 h 1027"/>
                <a:gd name="T4" fmla="*/ 400 w 954"/>
                <a:gd name="T5" fmla="*/ 627 h 1027"/>
                <a:gd name="T6" fmla="*/ 429 w 954"/>
                <a:gd name="T7" fmla="*/ 554 h 1027"/>
                <a:gd name="T8" fmla="*/ 370 w 954"/>
                <a:gd name="T9" fmla="*/ 503 h 1027"/>
                <a:gd name="T10" fmla="*/ 311 w 954"/>
                <a:gd name="T11" fmla="*/ 488 h 1027"/>
                <a:gd name="T12" fmla="*/ 247 w 954"/>
                <a:gd name="T13" fmla="*/ 410 h 1027"/>
                <a:gd name="T14" fmla="*/ 242 w 954"/>
                <a:gd name="T15" fmla="*/ 428 h 1027"/>
                <a:gd name="T16" fmla="*/ 181 w 954"/>
                <a:gd name="T17" fmla="*/ 348 h 1027"/>
                <a:gd name="T18" fmla="*/ 202 w 954"/>
                <a:gd name="T19" fmla="*/ 236 h 1027"/>
                <a:gd name="T20" fmla="*/ 150 w 954"/>
                <a:gd name="T21" fmla="*/ 164 h 1027"/>
                <a:gd name="T22" fmla="*/ 71 w 954"/>
                <a:gd name="T23" fmla="*/ 196 h 1027"/>
                <a:gd name="T24" fmla="*/ 75 w 954"/>
                <a:gd name="T25" fmla="*/ 164 h 1027"/>
                <a:gd name="T26" fmla="*/ 73 w 954"/>
                <a:gd name="T27" fmla="*/ 142 h 1027"/>
                <a:gd name="T28" fmla="*/ 100 w 954"/>
                <a:gd name="T29" fmla="*/ 112 h 1027"/>
                <a:gd name="T30" fmla="*/ 213 w 954"/>
                <a:gd name="T31" fmla="*/ 65 h 1027"/>
                <a:gd name="T32" fmla="*/ 379 w 954"/>
                <a:gd name="T33" fmla="*/ 79 h 1027"/>
                <a:gd name="T34" fmla="*/ 502 w 954"/>
                <a:gd name="T35" fmla="*/ 48 h 1027"/>
                <a:gd name="T36" fmla="*/ 553 w 954"/>
                <a:gd name="T37" fmla="*/ 71 h 1027"/>
                <a:gd name="T38" fmla="*/ 603 w 954"/>
                <a:gd name="T39" fmla="*/ 27 h 1027"/>
                <a:gd name="T40" fmla="*/ 663 w 954"/>
                <a:gd name="T41" fmla="*/ 0 h 1027"/>
                <a:gd name="T42" fmla="*/ 819 w 954"/>
                <a:gd name="T43" fmla="*/ 0 h 1027"/>
                <a:gd name="T44" fmla="*/ 948 w 954"/>
                <a:gd name="T45" fmla="*/ 12 h 1027"/>
                <a:gd name="T46" fmla="*/ 892 w 954"/>
                <a:gd name="T47" fmla="*/ 73 h 1027"/>
                <a:gd name="T48" fmla="*/ 870 w 954"/>
                <a:gd name="T49" fmla="*/ 104 h 1027"/>
                <a:gd name="T50" fmla="*/ 737 w 954"/>
                <a:gd name="T51" fmla="*/ 155 h 1027"/>
                <a:gd name="T52" fmla="*/ 729 w 954"/>
                <a:gd name="T53" fmla="*/ 80 h 1027"/>
                <a:gd name="T54" fmla="*/ 640 w 954"/>
                <a:gd name="T55" fmla="*/ 59 h 1027"/>
                <a:gd name="T56" fmla="*/ 665 w 954"/>
                <a:gd name="T57" fmla="*/ 121 h 1027"/>
                <a:gd name="T58" fmla="*/ 612 w 954"/>
                <a:gd name="T59" fmla="*/ 129 h 1027"/>
                <a:gd name="T60" fmla="*/ 589 w 954"/>
                <a:gd name="T61" fmla="*/ 107 h 1027"/>
                <a:gd name="T62" fmla="*/ 502 w 954"/>
                <a:gd name="T63" fmla="*/ 137 h 1027"/>
                <a:gd name="T64" fmla="*/ 517 w 954"/>
                <a:gd name="T65" fmla="*/ 180 h 1027"/>
                <a:gd name="T66" fmla="*/ 599 w 954"/>
                <a:gd name="T67" fmla="*/ 136 h 1027"/>
                <a:gd name="T68" fmla="*/ 662 w 954"/>
                <a:gd name="T69" fmla="*/ 201 h 1027"/>
                <a:gd name="T70" fmla="*/ 602 w 954"/>
                <a:gd name="T71" fmla="*/ 223 h 1027"/>
                <a:gd name="T72" fmla="*/ 606 w 954"/>
                <a:gd name="T73" fmla="*/ 263 h 1027"/>
                <a:gd name="T74" fmla="*/ 495 w 954"/>
                <a:gd name="T75" fmla="*/ 333 h 1027"/>
                <a:gd name="T76" fmla="*/ 441 w 954"/>
                <a:gd name="T77" fmla="*/ 410 h 1027"/>
                <a:gd name="T78" fmla="*/ 343 w 954"/>
                <a:gd name="T79" fmla="*/ 394 h 1027"/>
                <a:gd name="T80" fmla="*/ 366 w 954"/>
                <a:gd name="T81" fmla="*/ 433 h 1027"/>
                <a:gd name="T82" fmla="*/ 388 w 954"/>
                <a:gd name="T83" fmla="*/ 473 h 1027"/>
                <a:gd name="T84" fmla="*/ 436 w 954"/>
                <a:gd name="T85" fmla="*/ 517 h 1027"/>
                <a:gd name="T86" fmla="*/ 560 w 954"/>
                <a:gd name="T87" fmla="*/ 502 h 1027"/>
                <a:gd name="T88" fmla="*/ 723 w 954"/>
                <a:gd name="T89" fmla="*/ 619 h 1027"/>
                <a:gd name="T90" fmla="*/ 708 w 954"/>
                <a:gd name="T91" fmla="*/ 765 h 1027"/>
                <a:gd name="T92" fmla="*/ 618 w 954"/>
                <a:gd name="T93" fmla="*/ 1009 h 1027"/>
                <a:gd name="T94" fmla="*/ 398 w 954"/>
                <a:gd name="T95" fmla="*/ 514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4" h="1027">
                  <a:moveTo>
                    <a:pt x="611" y="1027"/>
                  </a:moveTo>
                  <a:cubicBezTo>
                    <a:pt x="610" y="1027"/>
                    <a:pt x="609" y="1027"/>
                    <a:pt x="608" y="1026"/>
                  </a:cubicBezTo>
                  <a:cubicBezTo>
                    <a:pt x="561" y="1012"/>
                    <a:pt x="561" y="1012"/>
                    <a:pt x="561" y="1012"/>
                  </a:cubicBezTo>
                  <a:cubicBezTo>
                    <a:pt x="559" y="1011"/>
                    <a:pt x="557" y="1010"/>
                    <a:pt x="556" y="1009"/>
                  </a:cubicBezTo>
                  <a:cubicBezTo>
                    <a:pt x="528" y="978"/>
                    <a:pt x="528" y="978"/>
                    <a:pt x="528" y="978"/>
                  </a:cubicBezTo>
                  <a:cubicBezTo>
                    <a:pt x="527" y="977"/>
                    <a:pt x="527" y="976"/>
                    <a:pt x="526" y="974"/>
                  </a:cubicBezTo>
                  <a:cubicBezTo>
                    <a:pt x="507" y="922"/>
                    <a:pt x="507" y="922"/>
                    <a:pt x="507" y="922"/>
                  </a:cubicBezTo>
                  <a:cubicBezTo>
                    <a:pt x="507" y="921"/>
                    <a:pt x="507" y="920"/>
                    <a:pt x="506" y="919"/>
                  </a:cubicBezTo>
                  <a:cubicBezTo>
                    <a:pt x="496" y="753"/>
                    <a:pt x="496" y="753"/>
                    <a:pt x="496" y="753"/>
                  </a:cubicBezTo>
                  <a:cubicBezTo>
                    <a:pt x="450" y="720"/>
                    <a:pt x="450" y="720"/>
                    <a:pt x="450" y="720"/>
                  </a:cubicBezTo>
                  <a:cubicBezTo>
                    <a:pt x="449" y="719"/>
                    <a:pt x="448" y="718"/>
                    <a:pt x="448" y="716"/>
                  </a:cubicBezTo>
                  <a:cubicBezTo>
                    <a:pt x="400" y="627"/>
                    <a:pt x="400" y="627"/>
                    <a:pt x="400" y="627"/>
                  </a:cubicBezTo>
                  <a:cubicBezTo>
                    <a:pt x="398" y="624"/>
                    <a:pt x="398" y="620"/>
                    <a:pt x="400" y="617"/>
                  </a:cubicBezTo>
                  <a:cubicBezTo>
                    <a:pt x="431" y="560"/>
                    <a:pt x="431" y="560"/>
                    <a:pt x="431" y="560"/>
                  </a:cubicBezTo>
                  <a:cubicBezTo>
                    <a:pt x="430" y="553"/>
                    <a:pt x="430" y="553"/>
                    <a:pt x="430" y="553"/>
                  </a:cubicBezTo>
                  <a:cubicBezTo>
                    <a:pt x="429" y="554"/>
                    <a:pt x="429" y="554"/>
                    <a:pt x="429" y="554"/>
                  </a:cubicBezTo>
                  <a:cubicBezTo>
                    <a:pt x="426" y="555"/>
                    <a:pt x="424" y="554"/>
                    <a:pt x="421" y="553"/>
                  </a:cubicBezTo>
                  <a:cubicBezTo>
                    <a:pt x="389" y="537"/>
                    <a:pt x="389" y="537"/>
                    <a:pt x="389" y="537"/>
                  </a:cubicBezTo>
                  <a:cubicBezTo>
                    <a:pt x="387" y="536"/>
                    <a:pt x="385" y="534"/>
                    <a:pt x="384" y="532"/>
                  </a:cubicBezTo>
                  <a:cubicBezTo>
                    <a:pt x="370" y="503"/>
                    <a:pt x="370" y="503"/>
                    <a:pt x="370" y="503"/>
                  </a:cubicBezTo>
                  <a:cubicBezTo>
                    <a:pt x="348" y="500"/>
                    <a:pt x="348" y="500"/>
                    <a:pt x="348" y="500"/>
                  </a:cubicBezTo>
                  <a:cubicBezTo>
                    <a:pt x="346" y="500"/>
                    <a:pt x="345" y="499"/>
                    <a:pt x="344" y="498"/>
                  </a:cubicBezTo>
                  <a:cubicBezTo>
                    <a:pt x="323" y="485"/>
                    <a:pt x="323" y="485"/>
                    <a:pt x="323" y="485"/>
                  </a:cubicBezTo>
                  <a:cubicBezTo>
                    <a:pt x="311" y="488"/>
                    <a:pt x="311" y="488"/>
                    <a:pt x="311" y="488"/>
                  </a:cubicBezTo>
                  <a:cubicBezTo>
                    <a:pt x="309" y="489"/>
                    <a:pt x="306" y="488"/>
                    <a:pt x="304" y="487"/>
                  </a:cubicBezTo>
                  <a:cubicBezTo>
                    <a:pt x="254" y="461"/>
                    <a:pt x="254" y="461"/>
                    <a:pt x="254" y="461"/>
                  </a:cubicBezTo>
                  <a:cubicBezTo>
                    <a:pt x="250" y="459"/>
                    <a:pt x="248" y="456"/>
                    <a:pt x="248" y="452"/>
                  </a:cubicBezTo>
                  <a:cubicBezTo>
                    <a:pt x="247" y="410"/>
                    <a:pt x="247" y="410"/>
                    <a:pt x="247" y="410"/>
                  </a:cubicBezTo>
                  <a:cubicBezTo>
                    <a:pt x="230" y="366"/>
                    <a:pt x="230" y="366"/>
                    <a:pt x="230" y="366"/>
                  </a:cubicBezTo>
                  <a:cubicBezTo>
                    <a:pt x="223" y="368"/>
                    <a:pt x="223" y="368"/>
                    <a:pt x="223" y="368"/>
                  </a:cubicBezTo>
                  <a:cubicBezTo>
                    <a:pt x="242" y="424"/>
                    <a:pt x="242" y="424"/>
                    <a:pt x="242" y="424"/>
                  </a:cubicBezTo>
                  <a:cubicBezTo>
                    <a:pt x="242" y="425"/>
                    <a:pt x="242" y="427"/>
                    <a:pt x="242" y="428"/>
                  </a:cubicBezTo>
                  <a:cubicBezTo>
                    <a:pt x="242" y="434"/>
                    <a:pt x="238" y="438"/>
                    <a:pt x="232" y="438"/>
                  </a:cubicBezTo>
                  <a:cubicBezTo>
                    <a:pt x="228" y="439"/>
                    <a:pt x="224" y="436"/>
                    <a:pt x="223" y="432"/>
                  </a:cubicBezTo>
                  <a:cubicBezTo>
                    <a:pt x="204" y="390"/>
                    <a:pt x="204" y="390"/>
                    <a:pt x="204" y="390"/>
                  </a:cubicBezTo>
                  <a:cubicBezTo>
                    <a:pt x="181" y="348"/>
                    <a:pt x="181" y="348"/>
                    <a:pt x="181" y="348"/>
                  </a:cubicBezTo>
                  <a:cubicBezTo>
                    <a:pt x="180" y="347"/>
                    <a:pt x="180" y="346"/>
                    <a:pt x="179" y="344"/>
                  </a:cubicBezTo>
                  <a:cubicBezTo>
                    <a:pt x="172" y="292"/>
                    <a:pt x="172" y="292"/>
                    <a:pt x="172" y="292"/>
                  </a:cubicBezTo>
                  <a:cubicBezTo>
                    <a:pt x="172" y="289"/>
                    <a:pt x="172" y="287"/>
                    <a:pt x="173" y="285"/>
                  </a:cubicBezTo>
                  <a:cubicBezTo>
                    <a:pt x="202" y="236"/>
                    <a:pt x="202" y="236"/>
                    <a:pt x="202" y="236"/>
                  </a:cubicBezTo>
                  <a:cubicBezTo>
                    <a:pt x="216" y="194"/>
                    <a:pt x="216" y="194"/>
                    <a:pt x="216" y="194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178" y="159"/>
                    <a:pt x="178" y="159"/>
                    <a:pt x="178" y="159"/>
                  </a:cubicBezTo>
                  <a:cubicBezTo>
                    <a:pt x="150" y="164"/>
                    <a:pt x="150" y="164"/>
                    <a:pt x="150" y="16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6" y="184"/>
                    <a:pt x="106" y="184"/>
                    <a:pt x="106" y="184"/>
                  </a:cubicBezTo>
                  <a:cubicBezTo>
                    <a:pt x="74" y="196"/>
                    <a:pt x="74" y="196"/>
                    <a:pt x="74" y="196"/>
                  </a:cubicBezTo>
                  <a:cubicBezTo>
                    <a:pt x="73" y="196"/>
                    <a:pt x="72" y="196"/>
                    <a:pt x="71" y="196"/>
                  </a:cubicBezTo>
                  <a:cubicBezTo>
                    <a:pt x="11" y="198"/>
                    <a:pt x="11" y="198"/>
                    <a:pt x="11" y="198"/>
                  </a:cubicBezTo>
                  <a:cubicBezTo>
                    <a:pt x="6" y="198"/>
                    <a:pt x="1" y="194"/>
                    <a:pt x="0" y="189"/>
                  </a:cubicBezTo>
                  <a:cubicBezTo>
                    <a:pt x="0" y="183"/>
                    <a:pt x="3" y="179"/>
                    <a:pt x="8" y="177"/>
                  </a:cubicBezTo>
                  <a:cubicBezTo>
                    <a:pt x="75" y="164"/>
                    <a:pt x="75" y="164"/>
                    <a:pt x="75" y="164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3" y="156"/>
                    <a:pt x="71" y="154"/>
                    <a:pt x="71" y="151"/>
                  </a:cubicBezTo>
                  <a:cubicBezTo>
                    <a:pt x="70" y="148"/>
                    <a:pt x="71" y="145"/>
                    <a:pt x="73" y="142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7" y="118"/>
                    <a:pt x="99" y="117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100" y="116"/>
                    <a:pt x="100" y="114"/>
                    <a:pt x="100" y="112"/>
                  </a:cubicBezTo>
                  <a:cubicBezTo>
                    <a:pt x="100" y="109"/>
                    <a:pt x="102" y="106"/>
                    <a:pt x="105" y="104"/>
                  </a:cubicBezTo>
                  <a:cubicBezTo>
                    <a:pt x="137" y="85"/>
                    <a:pt x="137" y="85"/>
                    <a:pt x="137" y="85"/>
                  </a:cubicBezTo>
                  <a:cubicBezTo>
                    <a:pt x="138" y="84"/>
                    <a:pt x="139" y="84"/>
                    <a:pt x="140" y="84"/>
                  </a:cubicBezTo>
                  <a:cubicBezTo>
                    <a:pt x="213" y="65"/>
                    <a:pt x="213" y="65"/>
                    <a:pt x="213" y="65"/>
                  </a:cubicBezTo>
                  <a:cubicBezTo>
                    <a:pt x="215" y="64"/>
                    <a:pt x="216" y="64"/>
                    <a:pt x="217" y="6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80" y="82"/>
                    <a:pt x="380" y="82"/>
                    <a:pt x="380" y="82"/>
                  </a:cubicBezTo>
                  <a:cubicBezTo>
                    <a:pt x="379" y="79"/>
                    <a:pt x="379" y="79"/>
                    <a:pt x="379" y="79"/>
                  </a:cubicBezTo>
                  <a:cubicBezTo>
                    <a:pt x="377" y="77"/>
                    <a:pt x="377" y="74"/>
                    <a:pt x="378" y="71"/>
                  </a:cubicBezTo>
                  <a:cubicBezTo>
                    <a:pt x="379" y="69"/>
                    <a:pt x="381" y="66"/>
                    <a:pt x="383" y="65"/>
                  </a:cubicBezTo>
                  <a:cubicBezTo>
                    <a:pt x="393" y="61"/>
                    <a:pt x="423" y="48"/>
                    <a:pt x="436" y="48"/>
                  </a:cubicBezTo>
                  <a:cubicBezTo>
                    <a:pt x="502" y="48"/>
                    <a:pt x="502" y="48"/>
                    <a:pt x="502" y="48"/>
                  </a:cubicBezTo>
                  <a:cubicBezTo>
                    <a:pt x="510" y="48"/>
                    <a:pt x="529" y="53"/>
                    <a:pt x="533" y="54"/>
                  </a:cubicBezTo>
                  <a:cubicBezTo>
                    <a:pt x="536" y="55"/>
                    <a:pt x="538" y="57"/>
                    <a:pt x="539" y="60"/>
                  </a:cubicBezTo>
                  <a:cubicBezTo>
                    <a:pt x="540" y="61"/>
                    <a:pt x="543" y="68"/>
                    <a:pt x="545" y="75"/>
                  </a:cubicBezTo>
                  <a:cubicBezTo>
                    <a:pt x="548" y="74"/>
                    <a:pt x="550" y="72"/>
                    <a:pt x="553" y="71"/>
                  </a:cubicBezTo>
                  <a:cubicBezTo>
                    <a:pt x="580" y="44"/>
                    <a:pt x="580" y="44"/>
                    <a:pt x="580" y="44"/>
                  </a:cubicBezTo>
                  <a:cubicBezTo>
                    <a:pt x="581" y="43"/>
                    <a:pt x="582" y="42"/>
                    <a:pt x="583" y="42"/>
                  </a:cubicBezTo>
                  <a:cubicBezTo>
                    <a:pt x="609" y="31"/>
                    <a:pt x="609" y="31"/>
                    <a:pt x="609" y="31"/>
                  </a:cubicBezTo>
                  <a:cubicBezTo>
                    <a:pt x="603" y="27"/>
                    <a:pt x="603" y="27"/>
                    <a:pt x="603" y="27"/>
                  </a:cubicBezTo>
                  <a:cubicBezTo>
                    <a:pt x="600" y="25"/>
                    <a:pt x="598" y="21"/>
                    <a:pt x="599" y="17"/>
                  </a:cubicBezTo>
                  <a:cubicBezTo>
                    <a:pt x="600" y="13"/>
                    <a:pt x="603" y="9"/>
                    <a:pt x="607" y="9"/>
                  </a:cubicBezTo>
                  <a:cubicBezTo>
                    <a:pt x="662" y="0"/>
                    <a:pt x="662" y="0"/>
                    <a:pt x="662" y="0"/>
                  </a:cubicBezTo>
                  <a:cubicBezTo>
                    <a:pt x="662" y="0"/>
                    <a:pt x="663" y="0"/>
                    <a:pt x="663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737" y="0"/>
                    <a:pt x="741" y="3"/>
                    <a:pt x="742" y="7"/>
                  </a:cubicBezTo>
                  <a:cubicBezTo>
                    <a:pt x="742" y="7"/>
                    <a:pt x="742" y="8"/>
                    <a:pt x="743" y="8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20" y="0"/>
                    <a:pt x="820" y="0"/>
                    <a:pt x="820" y="0"/>
                  </a:cubicBezTo>
                  <a:cubicBezTo>
                    <a:pt x="919" y="0"/>
                    <a:pt x="919" y="0"/>
                    <a:pt x="919" y="0"/>
                  </a:cubicBezTo>
                  <a:cubicBezTo>
                    <a:pt x="920" y="0"/>
                    <a:pt x="922" y="0"/>
                    <a:pt x="923" y="1"/>
                  </a:cubicBezTo>
                  <a:cubicBezTo>
                    <a:pt x="948" y="12"/>
                    <a:pt x="948" y="12"/>
                    <a:pt x="948" y="12"/>
                  </a:cubicBezTo>
                  <a:cubicBezTo>
                    <a:pt x="952" y="14"/>
                    <a:pt x="954" y="18"/>
                    <a:pt x="954" y="22"/>
                  </a:cubicBezTo>
                  <a:cubicBezTo>
                    <a:pt x="954" y="27"/>
                    <a:pt x="951" y="30"/>
                    <a:pt x="947" y="32"/>
                  </a:cubicBezTo>
                  <a:cubicBezTo>
                    <a:pt x="934" y="36"/>
                    <a:pt x="918" y="42"/>
                    <a:pt x="914" y="44"/>
                  </a:cubicBezTo>
                  <a:cubicBezTo>
                    <a:pt x="911" y="47"/>
                    <a:pt x="901" y="61"/>
                    <a:pt x="892" y="73"/>
                  </a:cubicBezTo>
                  <a:cubicBezTo>
                    <a:pt x="892" y="82"/>
                    <a:pt x="892" y="82"/>
                    <a:pt x="892" y="82"/>
                  </a:cubicBezTo>
                  <a:cubicBezTo>
                    <a:pt x="892" y="85"/>
                    <a:pt x="891" y="88"/>
                    <a:pt x="888" y="90"/>
                  </a:cubicBezTo>
                  <a:cubicBezTo>
                    <a:pt x="874" y="102"/>
                    <a:pt x="874" y="102"/>
                    <a:pt x="874" y="102"/>
                  </a:cubicBezTo>
                  <a:cubicBezTo>
                    <a:pt x="873" y="103"/>
                    <a:pt x="871" y="103"/>
                    <a:pt x="870" y="104"/>
                  </a:cubicBezTo>
                  <a:cubicBezTo>
                    <a:pt x="797" y="122"/>
                    <a:pt x="797" y="122"/>
                    <a:pt x="797" y="122"/>
                  </a:cubicBezTo>
                  <a:cubicBezTo>
                    <a:pt x="778" y="136"/>
                    <a:pt x="778" y="136"/>
                    <a:pt x="778" y="136"/>
                  </a:cubicBezTo>
                  <a:cubicBezTo>
                    <a:pt x="750" y="156"/>
                    <a:pt x="750" y="156"/>
                    <a:pt x="750" y="156"/>
                  </a:cubicBezTo>
                  <a:cubicBezTo>
                    <a:pt x="746" y="159"/>
                    <a:pt x="740" y="159"/>
                    <a:pt x="737" y="155"/>
                  </a:cubicBezTo>
                  <a:cubicBezTo>
                    <a:pt x="713" y="131"/>
                    <a:pt x="712" y="127"/>
                    <a:pt x="711" y="125"/>
                  </a:cubicBezTo>
                  <a:cubicBezTo>
                    <a:pt x="710" y="122"/>
                    <a:pt x="708" y="117"/>
                    <a:pt x="717" y="92"/>
                  </a:cubicBezTo>
                  <a:cubicBezTo>
                    <a:pt x="717" y="90"/>
                    <a:pt x="719" y="88"/>
                    <a:pt x="720" y="87"/>
                  </a:cubicBezTo>
                  <a:cubicBezTo>
                    <a:pt x="729" y="80"/>
                    <a:pt x="729" y="80"/>
                    <a:pt x="729" y="80"/>
                  </a:cubicBezTo>
                  <a:cubicBezTo>
                    <a:pt x="714" y="61"/>
                    <a:pt x="714" y="61"/>
                    <a:pt x="714" y="61"/>
                  </a:cubicBezTo>
                  <a:cubicBezTo>
                    <a:pt x="683" y="47"/>
                    <a:pt x="683" y="47"/>
                    <a:pt x="683" y="47"/>
                  </a:cubicBezTo>
                  <a:cubicBezTo>
                    <a:pt x="637" y="56"/>
                    <a:pt x="637" y="56"/>
                    <a:pt x="637" y="56"/>
                  </a:cubicBezTo>
                  <a:cubicBezTo>
                    <a:pt x="640" y="59"/>
                    <a:pt x="640" y="59"/>
                    <a:pt x="640" y="59"/>
                  </a:cubicBezTo>
                  <a:cubicBezTo>
                    <a:pt x="666" y="74"/>
                    <a:pt x="666" y="74"/>
                    <a:pt x="666" y="74"/>
                  </a:cubicBezTo>
                  <a:cubicBezTo>
                    <a:pt x="668" y="76"/>
                    <a:pt x="670" y="79"/>
                    <a:pt x="671" y="82"/>
                  </a:cubicBezTo>
                  <a:cubicBezTo>
                    <a:pt x="674" y="110"/>
                    <a:pt x="674" y="110"/>
                    <a:pt x="674" y="110"/>
                  </a:cubicBezTo>
                  <a:cubicBezTo>
                    <a:pt x="674" y="116"/>
                    <a:pt x="670" y="121"/>
                    <a:pt x="665" y="121"/>
                  </a:cubicBezTo>
                  <a:cubicBezTo>
                    <a:pt x="645" y="124"/>
                    <a:pt x="645" y="124"/>
                    <a:pt x="645" y="124"/>
                  </a:cubicBezTo>
                  <a:cubicBezTo>
                    <a:pt x="641" y="128"/>
                    <a:pt x="641" y="128"/>
                    <a:pt x="641" y="128"/>
                  </a:cubicBezTo>
                  <a:cubicBezTo>
                    <a:pt x="639" y="131"/>
                    <a:pt x="636" y="132"/>
                    <a:pt x="632" y="132"/>
                  </a:cubicBezTo>
                  <a:cubicBezTo>
                    <a:pt x="612" y="129"/>
                    <a:pt x="612" y="129"/>
                    <a:pt x="612" y="129"/>
                  </a:cubicBezTo>
                  <a:cubicBezTo>
                    <a:pt x="611" y="129"/>
                    <a:pt x="609" y="128"/>
                    <a:pt x="608" y="128"/>
                  </a:cubicBezTo>
                  <a:cubicBezTo>
                    <a:pt x="603" y="125"/>
                    <a:pt x="603" y="125"/>
                    <a:pt x="603" y="125"/>
                  </a:cubicBezTo>
                  <a:cubicBezTo>
                    <a:pt x="601" y="124"/>
                    <a:pt x="600" y="123"/>
                    <a:pt x="599" y="121"/>
                  </a:cubicBezTo>
                  <a:cubicBezTo>
                    <a:pt x="589" y="107"/>
                    <a:pt x="589" y="107"/>
                    <a:pt x="589" y="107"/>
                  </a:cubicBezTo>
                  <a:cubicBezTo>
                    <a:pt x="558" y="107"/>
                    <a:pt x="558" y="107"/>
                    <a:pt x="558" y="107"/>
                  </a:cubicBezTo>
                  <a:cubicBezTo>
                    <a:pt x="555" y="125"/>
                    <a:pt x="555" y="125"/>
                    <a:pt x="555" y="125"/>
                  </a:cubicBezTo>
                  <a:cubicBezTo>
                    <a:pt x="554" y="130"/>
                    <a:pt x="551" y="133"/>
                    <a:pt x="546" y="134"/>
                  </a:cubicBezTo>
                  <a:cubicBezTo>
                    <a:pt x="502" y="137"/>
                    <a:pt x="502" y="137"/>
                    <a:pt x="502" y="137"/>
                  </a:cubicBezTo>
                  <a:cubicBezTo>
                    <a:pt x="478" y="161"/>
                    <a:pt x="478" y="161"/>
                    <a:pt x="478" y="161"/>
                  </a:cubicBezTo>
                  <a:cubicBezTo>
                    <a:pt x="510" y="172"/>
                    <a:pt x="510" y="172"/>
                    <a:pt x="510" y="172"/>
                  </a:cubicBezTo>
                  <a:cubicBezTo>
                    <a:pt x="513" y="173"/>
                    <a:pt x="515" y="175"/>
                    <a:pt x="516" y="178"/>
                  </a:cubicBezTo>
                  <a:cubicBezTo>
                    <a:pt x="516" y="179"/>
                    <a:pt x="517" y="179"/>
                    <a:pt x="517" y="180"/>
                  </a:cubicBezTo>
                  <a:cubicBezTo>
                    <a:pt x="534" y="177"/>
                    <a:pt x="534" y="177"/>
                    <a:pt x="534" y="177"/>
                  </a:cubicBezTo>
                  <a:cubicBezTo>
                    <a:pt x="545" y="143"/>
                    <a:pt x="545" y="143"/>
                    <a:pt x="545" y="143"/>
                  </a:cubicBezTo>
                  <a:cubicBezTo>
                    <a:pt x="547" y="139"/>
                    <a:pt x="550" y="136"/>
                    <a:pt x="555" y="136"/>
                  </a:cubicBezTo>
                  <a:cubicBezTo>
                    <a:pt x="599" y="136"/>
                    <a:pt x="599" y="136"/>
                    <a:pt x="599" y="136"/>
                  </a:cubicBezTo>
                  <a:cubicBezTo>
                    <a:pt x="602" y="136"/>
                    <a:pt x="605" y="138"/>
                    <a:pt x="607" y="140"/>
                  </a:cubicBezTo>
                  <a:cubicBezTo>
                    <a:pt x="618" y="154"/>
                    <a:pt x="618" y="154"/>
                    <a:pt x="618" y="154"/>
                  </a:cubicBezTo>
                  <a:cubicBezTo>
                    <a:pt x="659" y="193"/>
                    <a:pt x="659" y="193"/>
                    <a:pt x="659" y="193"/>
                  </a:cubicBezTo>
                  <a:cubicBezTo>
                    <a:pt x="661" y="195"/>
                    <a:pt x="662" y="198"/>
                    <a:pt x="662" y="201"/>
                  </a:cubicBezTo>
                  <a:cubicBezTo>
                    <a:pt x="662" y="204"/>
                    <a:pt x="660" y="207"/>
                    <a:pt x="658" y="209"/>
                  </a:cubicBezTo>
                  <a:cubicBezTo>
                    <a:pt x="642" y="221"/>
                    <a:pt x="642" y="221"/>
                    <a:pt x="642" y="221"/>
                  </a:cubicBezTo>
                  <a:cubicBezTo>
                    <a:pt x="640" y="222"/>
                    <a:pt x="638" y="223"/>
                    <a:pt x="636" y="223"/>
                  </a:cubicBezTo>
                  <a:cubicBezTo>
                    <a:pt x="602" y="223"/>
                    <a:pt x="602" y="223"/>
                    <a:pt x="602" y="223"/>
                  </a:cubicBezTo>
                  <a:cubicBezTo>
                    <a:pt x="599" y="225"/>
                    <a:pt x="599" y="225"/>
                    <a:pt x="599" y="225"/>
                  </a:cubicBezTo>
                  <a:cubicBezTo>
                    <a:pt x="608" y="235"/>
                    <a:pt x="608" y="235"/>
                    <a:pt x="608" y="235"/>
                  </a:cubicBezTo>
                  <a:cubicBezTo>
                    <a:pt x="610" y="238"/>
                    <a:pt x="611" y="241"/>
                    <a:pt x="610" y="244"/>
                  </a:cubicBezTo>
                  <a:cubicBezTo>
                    <a:pt x="606" y="263"/>
                    <a:pt x="606" y="263"/>
                    <a:pt x="606" y="263"/>
                  </a:cubicBezTo>
                  <a:cubicBezTo>
                    <a:pt x="605" y="268"/>
                    <a:pt x="601" y="271"/>
                    <a:pt x="596" y="271"/>
                  </a:cubicBezTo>
                  <a:cubicBezTo>
                    <a:pt x="565" y="271"/>
                    <a:pt x="565" y="271"/>
                    <a:pt x="565" y="271"/>
                  </a:cubicBezTo>
                  <a:cubicBezTo>
                    <a:pt x="497" y="314"/>
                    <a:pt x="497" y="314"/>
                    <a:pt x="497" y="314"/>
                  </a:cubicBezTo>
                  <a:cubicBezTo>
                    <a:pt x="495" y="333"/>
                    <a:pt x="495" y="333"/>
                    <a:pt x="495" y="333"/>
                  </a:cubicBezTo>
                  <a:cubicBezTo>
                    <a:pt x="494" y="335"/>
                    <a:pt x="493" y="338"/>
                    <a:pt x="491" y="339"/>
                  </a:cubicBezTo>
                  <a:cubicBezTo>
                    <a:pt x="455" y="369"/>
                    <a:pt x="455" y="369"/>
                    <a:pt x="455" y="369"/>
                  </a:cubicBezTo>
                  <a:cubicBezTo>
                    <a:pt x="451" y="401"/>
                    <a:pt x="451" y="401"/>
                    <a:pt x="451" y="401"/>
                  </a:cubicBezTo>
                  <a:cubicBezTo>
                    <a:pt x="450" y="406"/>
                    <a:pt x="446" y="410"/>
                    <a:pt x="441" y="410"/>
                  </a:cubicBezTo>
                  <a:cubicBezTo>
                    <a:pt x="427" y="412"/>
                    <a:pt x="427" y="412"/>
                    <a:pt x="427" y="412"/>
                  </a:cubicBezTo>
                  <a:cubicBezTo>
                    <a:pt x="422" y="412"/>
                    <a:pt x="418" y="410"/>
                    <a:pt x="416" y="406"/>
                  </a:cubicBezTo>
                  <a:cubicBezTo>
                    <a:pt x="403" y="376"/>
                    <a:pt x="403" y="376"/>
                    <a:pt x="403" y="376"/>
                  </a:cubicBezTo>
                  <a:cubicBezTo>
                    <a:pt x="343" y="394"/>
                    <a:pt x="343" y="394"/>
                    <a:pt x="343" y="394"/>
                  </a:cubicBezTo>
                  <a:cubicBezTo>
                    <a:pt x="331" y="436"/>
                    <a:pt x="331" y="436"/>
                    <a:pt x="331" y="436"/>
                  </a:cubicBezTo>
                  <a:cubicBezTo>
                    <a:pt x="339" y="439"/>
                    <a:pt x="347" y="442"/>
                    <a:pt x="351" y="443"/>
                  </a:cubicBezTo>
                  <a:cubicBezTo>
                    <a:pt x="353" y="441"/>
                    <a:pt x="356" y="438"/>
                    <a:pt x="358" y="436"/>
                  </a:cubicBezTo>
                  <a:cubicBezTo>
                    <a:pt x="360" y="434"/>
                    <a:pt x="363" y="433"/>
                    <a:pt x="366" y="433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91" y="433"/>
                    <a:pt x="394" y="434"/>
                    <a:pt x="396" y="437"/>
                  </a:cubicBezTo>
                  <a:cubicBezTo>
                    <a:pt x="398" y="440"/>
                    <a:pt x="398" y="443"/>
                    <a:pt x="397" y="446"/>
                  </a:cubicBezTo>
                  <a:cubicBezTo>
                    <a:pt x="388" y="473"/>
                    <a:pt x="388" y="473"/>
                    <a:pt x="388" y="473"/>
                  </a:cubicBezTo>
                  <a:cubicBezTo>
                    <a:pt x="412" y="480"/>
                    <a:pt x="412" y="480"/>
                    <a:pt x="412" y="480"/>
                  </a:cubicBezTo>
                  <a:cubicBezTo>
                    <a:pt x="416" y="481"/>
                    <a:pt x="419" y="485"/>
                    <a:pt x="419" y="490"/>
                  </a:cubicBezTo>
                  <a:cubicBezTo>
                    <a:pt x="419" y="511"/>
                    <a:pt x="419" y="511"/>
                    <a:pt x="419" y="511"/>
                  </a:cubicBezTo>
                  <a:cubicBezTo>
                    <a:pt x="436" y="517"/>
                    <a:pt x="436" y="517"/>
                    <a:pt x="436" y="517"/>
                  </a:cubicBezTo>
                  <a:cubicBezTo>
                    <a:pt x="462" y="502"/>
                    <a:pt x="462" y="502"/>
                    <a:pt x="462" y="502"/>
                  </a:cubicBezTo>
                  <a:cubicBezTo>
                    <a:pt x="463" y="501"/>
                    <a:pt x="465" y="500"/>
                    <a:pt x="467" y="500"/>
                  </a:cubicBezTo>
                  <a:cubicBezTo>
                    <a:pt x="553" y="500"/>
                    <a:pt x="553" y="500"/>
                    <a:pt x="553" y="500"/>
                  </a:cubicBezTo>
                  <a:cubicBezTo>
                    <a:pt x="556" y="500"/>
                    <a:pt x="558" y="501"/>
                    <a:pt x="560" y="502"/>
                  </a:cubicBezTo>
                  <a:cubicBezTo>
                    <a:pt x="632" y="561"/>
                    <a:pt x="632" y="561"/>
                    <a:pt x="632" y="561"/>
                  </a:cubicBezTo>
                  <a:cubicBezTo>
                    <a:pt x="634" y="563"/>
                    <a:pt x="636" y="566"/>
                    <a:pt x="636" y="569"/>
                  </a:cubicBezTo>
                  <a:cubicBezTo>
                    <a:pt x="636" y="578"/>
                    <a:pt x="635" y="588"/>
                    <a:pt x="634" y="596"/>
                  </a:cubicBezTo>
                  <a:cubicBezTo>
                    <a:pt x="648" y="602"/>
                    <a:pt x="688" y="612"/>
                    <a:pt x="723" y="619"/>
                  </a:cubicBezTo>
                  <a:cubicBezTo>
                    <a:pt x="726" y="620"/>
                    <a:pt x="729" y="622"/>
                    <a:pt x="730" y="625"/>
                  </a:cubicBezTo>
                  <a:cubicBezTo>
                    <a:pt x="745" y="660"/>
                    <a:pt x="745" y="660"/>
                    <a:pt x="745" y="660"/>
                  </a:cubicBezTo>
                  <a:cubicBezTo>
                    <a:pt x="746" y="663"/>
                    <a:pt x="746" y="666"/>
                    <a:pt x="745" y="668"/>
                  </a:cubicBezTo>
                  <a:cubicBezTo>
                    <a:pt x="708" y="765"/>
                    <a:pt x="708" y="765"/>
                    <a:pt x="708" y="765"/>
                  </a:cubicBezTo>
                  <a:cubicBezTo>
                    <a:pt x="708" y="766"/>
                    <a:pt x="707" y="767"/>
                    <a:pt x="707" y="768"/>
                  </a:cubicBezTo>
                  <a:cubicBezTo>
                    <a:pt x="589" y="916"/>
                    <a:pt x="589" y="916"/>
                    <a:pt x="589" y="916"/>
                  </a:cubicBezTo>
                  <a:cubicBezTo>
                    <a:pt x="589" y="980"/>
                    <a:pt x="589" y="980"/>
                    <a:pt x="589" y="980"/>
                  </a:cubicBezTo>
                  <a:cubicBezTo>
                    <a:pt x="618" y="1009"/>
                    <a:pt x="618" y="1009"/>
                    <a:pt x="618" y="1009"/>
                  </a:cubicBezTo>
                  <a:cubicBezTo>
                    <a:pt x="621" y="1013"/>
                    <a:pt x="622" y="1018"/>
                    <a:pt x="619" y="1022"/>
                  </a:cubicBezTo>
                  <a:cubicBezTo>
                    <a:pt x="617" y="1025"/>
                    <a:pt x="614" y="1027"/>
                    <a:pt x="611" y="1027"/>
                  </a:cubicBezTo>
                  <a:moveTo>
                    <a:pt x="389" y="495"/>
                  </a:moveTo>
                  <a:cubicBezTo>
                    <a:pt x="398" y="514"/>
                    <a:pt x="398" y="514"/>
                    <a:pt x="398" y="514"/>
                  </a:cubicBezTo>
                  <a:cubicBezTo>
                    <a:pt x="398" y="497"/>
                    <a:pt x="398" y="497"/>
                    <a:pt x="398" y="497"/>
                  </a:cubicBezTo>
                  <a:cubicBezTo>
                    <a:pt x="389" y="495"/>
                    <a:pt x="389" y="495"/>
                    <a:pt x="389" y="4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9838454" y="5013576"/>
              <a:ext cx="2205163" cy="1583818"/>
            </a:xfrm>
            <a:custGeom>
              <a:avLst/>
              <a:gdLst>
                <a:gd name="T0" fmla="*/ 235 w 1153"/>
                <a:gd name="T1" fmla="*/ 777 h 829"/>
                <a:gd name="T2" fmla="*/ 208 w 1153"/>
                <a:gd name="T3" fmla="*/ 607 h 829"/>
                <a:gd name="T4" fmla="*/ 184 w 1153"/>
                <a:gd name="T5" fmla="*/ 536 h 829"/>
                <a:gd name="T6" fmla="*/ 111 w 1153"/>
                <a:gd name="T7" fmla="*/ 535 h 829"/>
                <a:gd name="T8" fmla="*/ 3 w 1153"/>
                <a:gd name="T9" fmla="*/ 457 h 829"/>
                <a:gd name="T10" fmla="*/ 3 w 1153"/>
                <a:gd name="T11" fmla="*/ 389 h 829"/>
                <a:gd name="T12" fmla="*/ 146 w 1153"/>
                <a:gd name="T13" fmla="*/ 282 h 829"/>
                <a:gd name="T14" fmla="*/ 212 w 1153"/>
                <a:gd name="T15" fmla="*/ 307 h 829"/>
                <a:gd name="T16" fmla="*/ 302 w 1153"/>
                <a:gd name="T17" fmla="*/ 311 h 829"/>
                <a:gd name="T18" fmla="*/ 340 w 1153"/>
                <a:gd name="T19" fmla="*/ 299 h 829"/>
                <a:gd name="T20" fmla="*/ 297 w 1153"/>
                <a:gd name="T21" fmla="*/ 284 h 829"/>
                <a:gd name="T22" fmla="*/ 263 w 1153"/>
                <a:gd name="T23" fmla="*/ 281 h 829"/>
                <a:gd name="T24" fmla="*/ 218 w 1153"/>
                <a:gd name="T25" fmla="*/ 227 h 829"/>
                <a:gd name="T26" fmla="*/ 228 w 1153"/>
                <a:gd name="T27" fmla="*/ 291 h 829"/>
                <a:gd name="T28" fmla="*/ 150 w 1153"/>
                <a:gd name="T29" fmla="*/ 248 h 829"/>
                <a:gd name="T30" fmla="*/ 78 w 1153"/>
                <a:gd name="T31" fmla="*/ 290 h 829"/>
                <a:gd name="T32" fmla="*/ 83 w 1153"/>
                <a:gd name="T33" fmla="*/ 225 h 829"/>
                <a:gd name="T34" fmla="*/ 103 w 1153"/>
                <a:gd name="T35" fmla="*/ 203 h 829"/>
                <a:gd name="T36" fmla="*/ 110 w 1153"/>
                <a:gd name="T37" fmla="*/ 162 h 829"/>
                <a:gd name="T38" fmla="*/ 114 w 1153"/>
                <a:gd name="T39" fmla="*/ 122 h 829"/>
                <a:gd name="T40" fmla="*/ 169 w 1153"/>
                <a:gd name="T41" fmla="*/ 150 h 829"/>
                <a:gd name="T42" fmla="*/ 280 w 1153"/>
                <a:gd name="T43" fmla="*/ 120 h 829"/>
                <a:gd name="T44" fmla="*/ 233 w 1153"/>
                <a:gd name="T45" fmla="*/ 132 h 829"/>
                <a:gd name="T46" fmla="*/ 202 w 1153"/>
                <a:gd name="T47" fmla="*/ 134 h 829"/>
                <a:gd name="T48" fmla="*/ 169 w 1153"/>
                <a:gd name="T49" fmla="*/ 99 h 829"/>
                <a:gd name="T50" fmla="*/ 279 w 1153"/>
                <a:gd name="T51" fmla="*/ 30 h 829"/>
                <a:gd name="T52" fmla="*/ 355 w 1153"/>
                <a:gd name="T53" fmla="*/ 54 h 829"/>
                <a:gd name="T54" fmla="*/ 359 w 1153"/>
                <a:gd name="T55" fmla="*/ 60 h 829"/>
                <a:gd name="T56" fmla="*/ 448 w 1153"/>
                <a:gd name="T57" fmla="*/ 43 h 829"/>
                <a:gd name="T58" fmla="*/ 508 w 1153"/>
                <a:gd name="T59" fmla="*/ 13 h 829"/>
                <a:gd name="T60" fmla="*/ 681 w 1153"/>
                <a:gd name="T61" fmla="*/ 0 h 829"/>
                <a:gd name="T62" fmla="*/ 854 w 1153"/>
                <a:gd name="T63" fmla="*/ 24 h 829"/>
                <a:gd name="T64" fmla="*/ 1152 w 1153"/>
                <a:gd name="T65" fmla="*/ 75 h 829"/>
                <a:gd name="T66" fmla="*/ 1115 w 1153"/>
                <a:gd name="T67" fmla="*/ 102 h 829"/>
                <a:gd name="T68" fmla="*/ 1091 w 1153"/>
                <a:gd name="T69" fmla="*/ 161 h 829"/>
                <a:gd name="T70" fmla="*/ 1033 w 1153"/>
                <a:gd name="T71" fmla="*/ 139 h 829"/>
                <a:gd name="T72" fmla="*/ 1001 w 1153"/>
                <a:gd name="T73" fmla="*/ 128 h 829"/>
                <a:gd name="T74" fmla="*/ 978 w 1153"/>
                <a:gd name="T75" fmla="*/ 156 h 829"/>
                <a:gd name="T76" fmla="*/ 995 w 1153"/>
                <a:gd name="T77" fmla="*/ 214 h 829"/>
                <a:gd name="T78" fmla="*/ 996 w 1153"/>
                <a:gd name="T79" fmla="*/ 274 h 829"/>
                <a:gd name="T80" fmla="*/ 969 w 1153"/>
                <a:gd name="T81" fmla="*/ 307 h 829"/>
                <a:gd name="T82" fmla="*/ 913 w 1153"/>
                <a:gd name="T83" fmla="*/ 269 h 829"/>
                <a:gd name="T84" fmla="*/ 936 w 1153"/>
                <a:gd name="T85" fmla="*/ 288 h 829"/>
                <a:gd name="T86" fmla="*/ 951 w 1153"/>
                <a:gd name="T87" fmla="*/ 378 h 829"/>
                <a:gd name="T88" fmla="*/ 865 w 1153"/>
                <a:gd name="T89" fmla="*/ 416 h 829"/>
                <a:gd name="T90" fmla="*/ 891 w 1153"/>
                <a:gd name="T91" fmla="*/ 468 h 829"/>
                <a:gd name="T92" fmla="*/ 848 w 1153"/>
                <a:gd name="T93" fmla="*/ 507 h 829"/>
                <a:gd name="T94" fmla="*/ 849 w 1153"/>
                <a:gd name="T95" fmla="*/ 552 h 829"/>
                <a:gd name="T96" fmla="*/ 805 w 1153"/>
                <a:gd name="T97" fmla="*/ 486 h 829"/>
                <a:gd name="T98" fmla="*/ 768 w 1153"/>
                <a:gd name="T99" fmla="*/ 424 h 829"/>
                <a:gd name="T100" fmla="*/ 708 w 1153"/>
                <a:gd name="T101" fmla="*/ 441 h 829"/>
                <a:gd name="T102" fmla="*/ 700 w 1153"/>
                <a:gd name="T103" fmla="*/ 462 h 829"/>
                <a:gd name="T104" fmla="*/ 652 w 1153"/>
                <a:gd name="T105" fmla="*/ 499 h 829"/>
                <a:gd name="T106" fmla="*/ 602 w 1153"/>
                <a:gd name="T107" fmla="*/ 408 h 829"/>
                <a:gd name="T108" fmla="*/ 469 w 1153"/>
                <a:gd name="T109" fmla="*/ 346 h 829"/>
                <a:gd name="T110" fmla="*/ 512 w 1153"/>
                <a:gd name="T111" fmla="*/ 373 h 829"/>
                <a:gd name="T112" fmla="*/ 510 w 1153"/>
                <a:gd name="T113" fmla="*/ 442 h 829"/>
                <a:gd name="T114" fmla="*/ 379 w 1153"/>
                <a:gd name="T115" fmla="*/ 362 h 829"/>
                <a:gd name="T116" fmla="*/ 496 w 1153"/>
                <a:gd name="T117" fmla="*/ 460 h 829"/>
                <a:gd name="T118" fmla="*/ 480 w 1153"/>
                <a:gd name="T119" fmla="*/ 539 h 829"/>
                <a:gd name="T120" fmla="*/ 420 w 1153"/>
                <a:gd name="T121" fmla="*/ 631 h 829"/>
                <a:gd name="T122" fmla="*/ 394 w 1153"/>
                <a:gd name="T123" fmla="*/ 729 h 829"/>
                <a:gd name="T124" fmla="*/ 1054 w 1153"/>
                <a:gd name="T125" fmla="*/ 135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3" h="829">
                  <a:moveTo>
                    <a:pt x="306" y="829"/>
                  </a:moveTo>
                  <a:cubicBezTo>
                    <a:pt x="266" y="829"/>
                    <a:pt x="266" y="829"/>
                    <a:pt x="266" y="829"/>
                  </a:cubicBezTo>
                  <a:cubicBezTo>
                    <a:pt x="262" y="829"/>
                    <a:pt x="258" y="827"/>
                    <a:pt x="257" y="823"/>
                  </a:cubicBezTo>
                  <a:cubicBezTo>
                    <a:pt x="235" y="777"/>
                    <a:pt x="235" y="777"/>
                    <a:pt x="235" y="777"/>
                  </a:cubicBezTo>
                  <a:cubicBezTo>
                    <a:pt x="234" y="776"/>
                    <a:pt x="234" y="776"/>
                    <a:pt x="234" y="776"/>
                  </a:cubicBezTo>
                  <a:cubicBezTo>
                    <a:pt x="204" y="699"/>
                    <a:pt x="205" y="695"/>
                    <a:pt x="206" y="691"/>
                  </a:cubicBezTo>
                  <a:cubicBezTo>
                    <a:pt x="208" y="687"/>
                    <a:pt x="217" y="661"/>
                    <a:pt x="220" y="651"/>
                  </a:cubicBezTo>
                  <a:cubicBezTo>
                    <a:pt x="208" y="607"/>
                    <a:pt x="208" y="607"/>
                    <a:pt x="208" y="607"/>
                  </a:cubicBezTo>
                  <a:cubicBezTo>
                    <a:pt x="191" y="578"/>
                    <a:pt x="191" y="578"/>
                    <a:pt x="191" y="578"/>
                  </a:cubicBezTo>
                  <a:cubicBezTo>
                    <a:pt x="190" y="576"/>
                    <a:pt x="190" y="574"/>
                    <a:pt x="190" y="573"/>
                  </a:cubicBezTo>
                  <a:cubicBezTo>
                    <a:pt x="190" y="544"/>
                    <a:pt x="190" y="544"/>
                    <a:pt x="190" y="544"/>
                  </a:cubicBezTo>
                  <a:cubicBezTo>
                    <a:pt x="184" y="536"/>
                    <a:pt x="184" y="536"/>
                    <a:pt x="184" y="536"/>
                  </a:cubicBezTo>
                  <a:cubicBezTo>
                    <a:pt x="171" y="536"/>
                    <a:pt x="171" y="536"/>
                    <a:pt x="171" y="536"/>
                  </a:cubicBezTo>
                  <a:cubicBezTo>
                    <a:pt x="168" y="536"/>
                    <a:pt x="165" y="535"/>
                    <a:pt x="163" y="533"/>
                  </a:cubicBezTo>
                  <a:cubicBezTo>
                    <a:pt x="152" y="521"/>
                    <a:pt x="152" y="521"/>
                    <a:pt x="152" y="521"/>
                  </a:cubicBezTo>
                  <a:cubicBezTo>
                    <a:pt x="111" y="535"/>
                    <a:pt x="111" y="535"/>
                    <a:pt x="111" y="535"/>
                  </a:cubicBezTo>
                  <a:cubicBezTo>
                    <a:pt x="110" y="536"/>
                    <a:pt x="109" y="536"/>
                    <a:pt x="107" y="536"/>
                  </a:cubicBezTo>
                  <a:cubicBezTo>
                    <a:pt x="71" y="536"/>
                    <a:pt x="71" y="536"/>
                    <a:pt x="71" y="536"/>
                  </a:cubicBezTo>
                  <a:cubicBezTo>
                    <a:pt x="68" y="536"/>
                    <a:pt x="65" y="535"/>
                    <a:pt x="63" y="532"/>
                  </a:cubicBezTo>
                  <a:cubicBezTo>
                    <a:pt x="3" y="457"/>
                    <a:pt x="3" y="457"/>
                    <a:pt x="3" y="457"/>
                  </a:cubicBezTo>
                  <a:cubicBezTo>
                    <a:pt x="0" y="454"/>
                    <a:pt x="0" y="450"/>
                    <a:pt x="1" y="447"/>
                  </a:cubicBezTo>
                  <a:cubicBezTo>
                    <a:pt x="11" y="424"/>
                    <a:pt x="11" y="424"/>
                    <a:pt x="11" y="424"/>
                  </a:cubicBezTo>
                  <a:cubicBezTo>
                    <a:pt x="1" y="401"/>
                    <a:pt x="1" y="401"/>
                    <a:pt x="1" y="401"/>
                  </a:cubicBezTo>
                  <a:cubicBezTo>
                    <a:pt x="0" y="397"/>
                    <a:pt x="0" y="392"/>
                    <a:pt x="3" y="389"/>
                  </a:cubicBezTo>
                  <a:cubicBezTo>
                    <a:pt x="91" y="297"/>
                    <a:pt x="91" y="297"/>
                    <a:pt x="91" y="297"/>
                  </a:cubicBezTo>
                  <a:cubicBezTo>
                    <a:pt x="93" y="295"/>
                    <a:pt x="96" y="294"/>
                    <a:pt x="99" y="294"/>
                  </a:cubicBezTo>
                  <a:cubicBezTo>
                    <a:pt x="120" y="294"/>
                    <a:pt x="120" y="294"/>
                    <a:pt x="120" y="294"/>
                  </a:cubicBezTo>
                  <a:cubicBezTo>
                    <a:pt x="146" y="282"/>
                    <a:pt x="146" y="282"/>
                    <a:pt x="146" y="282"/>
                  </a:cubicBezTo>
                  <a:cubicBezTo>
                    <a:pt x="147" y="281"/>
                    <a:pt x="149" y="281"/>
                    <a:pt x="150" y="281"/>
                  </a:cubicBezTo>
                  <a:cubicBezTo>
                    <a:pt x="194" y="282"/>
                    <a:pt x="194" y="282"/>
                    <a:pt x="194" y="282"/>
                  </a:cubicBezTo>
                  <a:cubicBezTo>
                    <a:pt x="198" y="282"/>
                    <a:pt x="202" y="285"/>
                    <a:pt x="203" y="288"/>
                  </a:cubicBezTo>
                  <a:cubicBezTo>
                    <a:pt x="212" y="307"/>
                    <a:pt x="212" y="307"/>
                    <a:pt x="212" y="307"/>
                  </a:cubicBezTo>
                  <a:cubicBezTo>
                    <a:pt x="251" y="314"/>
                    <a:pt x="251" y="314"/>
                    <a:pt x="251" y="314"/>
                  </a:cubicBezTo>
                  <a:cubicBezTo>
                    <a:pt x="256" y="315"/>
                    <a:pt x="256" y="315"/>
                    <a:pt x="256" y="315"/>
                  </a:cubicBezTo>
                  <a:cubicBezTo>
                    <a:pt x="258" y="311"/>
                    <a:pt x="262" y="308"/>
                    <a:pt x="267" y="309"/>
                  </a:cubicBezTo>
                  <a:cubicBezTo>
                    <a:pt x="302" y="311"/>
                    <a:pt x="302" y="311"/>
                    <a:pt x="302" y="311"/>
                  </a:cubicBezTo>
                  <a:cubicBezTo>
                    <a:pt x="355" y="317"/>
                    <a:pt x="355" y="317"/>
                    <a:pt x="355" y="317"/>
                  </a:cubicBezTo>
                  <a:cubicBezTo>
                    <a:pt x="359" y="316"/>
                    <a:pt x="359" y="316"/>
                    <a:pt x="359" y="316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36" y="300"/>
                    <a:pt x="333" y="299"/>
                    <a:pt x="330" y="297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7" y="266"/>
                    <a:pt x="297" y="266"/>
                    <a:pt x="297" y="266"/>
                  </a:cubicBezTo>
                  <a:cubicBezTo>
                    <a:pt x="297" y="284"/>
                    <a:pt x="297" y="284"/>
                    <a:pt x="297" y="284"/>
                  </a:cubicBezTo>
                  <a:cubicBezTo>
                    <a:pt x="297" y="287"/>
                    <a:pt x="295" y="291"/>
                    <a:pt x="292" y="293"/>
                  </a:cubicBezTo>
                  <a:cubicBezTo>
                    <a:pt x="288" y="294"/>
                    <a:pt x="284" y="294"/>
                    <a:pt x="281" y="292"/>
                  </a:cubicBezTo>
                  <a:cubicBezTo>
                    <a:pt x="267" y="284"/>
                    <a:pt x="267" y="284"/>
                    <a:pt x="267" y="284"/>
                  </a:cubicBezTo>
                  <a:cubicBezTo>
                    <a:pt x="265" y="283"/>
                    <a:pt x="264" y="282"/>
                    <a:pt x="263" y="281"/>
                  </a:cubicBezTo>
                  <a:cubicBezTo>
                    <a:pt x="250" y="262"/>
                    <a:pt x="250" y="262"/>
                    <a:pt x="250" y="262"/>
                  </a:cubicBezTo>
                  <a:cubicBezTo>
                    <a:pt x="250" y="261"/>
                    <a:pt x="250" y="261"/>
                    <a:pt x="250" y="261"/>
                  </a:cubicBezTo>
                  <a:cubicBezTo>
                    <a:pt x="228" y="223"/>
                    <a:pt x="228" y="223"/>
                    <a:pt x="228" y="223"/>
                  </a:cubicBezTo>
                  <a:cubicBezTo>
                    <a:pt x="218" y="227"/>
                    <a:pt x="218" y="227"/>
                    <a:pt x="218" y="227"/>
                  </a:cubicBezTo>
                  <a:cubicBezTo>
                    <a:pt x="247" y="262"/>
                    <a:pt x="247" y="262"/>
                    <a:pt x="247" y="262"/>
                  </a:cubicBezTo>
                  <a:cubicBezTo>
                    <a:pt x="250" y="266"/>
                    <a:pt x="251" y="271"/>
                    <a:pt x="248" y="275"/>
                  </a:cubicBezTo>
                  <a:cubicBezTo>
                    <a:pt x="239" y="287"/>
                    <a:pt x="239" y="287"/>
                    <a:pt x="239" y="287"/>
                  </a:cubicBezTo>
                  <a:cubicBezTo>
                    <a:pt x="236" y="290"/>
                    <a:pt x="232" y="292"/>
                    <a:pt x="228" y="291"/>
                  </a:cubicBezTo>
                  <a:cubicBezTo>
                    <a:pt x="224" y="290"/>
                    <a:pt x="221" y="286"/>
                    <a:pt x="221" y="282"/>
                  </a:cubicBezTo>
                  <a:cubicBezTo>
                    <a:pt x="218" y="267"/>
                    <a:pt x="218" y="267"/>
                    <a:pt x="218" y="267"/>
                  </a:cubicBezTo>
                  <a:cubicBezTo>
                    <a:pt x="193" y="244"/>
                    <a:pt x="193" y="244"/>
                    <a:pt x="193" y="244"/>
                  </a:cubicBezTo>
                  <a:cubicBezTo>
                    <a:pt x="150" y="248"/>
                    <a:pt x="150" y="248"/>
                    <a:pt x="150" y="248"/>
                  </a:cubicBezTo>
                  <a:cubicBezTo>
                    <a:pt x="129" y="279"/>
                    <a:pt x="129" y="279"/>
                    <a:pt x="129" y="279"/>
                  </a:cubicBezTo>
                  <a:cubicBezTo>
                    <a:pt x="128" y="282"/>
                    <a:pt x="125" y="283"/>
                    <a:pt x="123" y="284"/>
                  </a:cubicBezTo>
                  <a:cubicBezTo>
                    <a:pt x="86" y="292"/>
                    <a:pt x="86" y="292"/>
                    <a:pt x="86" y="292"/>
                  </a:cubicBezTo>
                  <a:cubicBezTo>
                    <a:pt x="83" y="293"/>
                    <a:pt x="80" y="292"/>
                    <a:pt x="78" y="290"/>
                  </a:cubicBezTo>
                  <a:cubicBezTo>
                    <a:pt x="75" y="288"/>
                    <a:pt x="74" y="286"/>
                    <a:pt x="74" y="282"/>
                  </a:cubicBezTo>
                  <a:cubicBezTo>
                    <a:pt x="72" y="235"/>
                    <a:pt x="72" y="235"/>
                    <a:pt x="72" y="235"/>
                  </a:cubicBezTo>
                  <a:cubicBezTo>
                    <a:pt x="72" y="233"/>
                    <a:pt x="73" y="230"/>
                    <a:pt x="75" y="228"/>
                  </a:cubicBezTo>
                  <a:cubicBezTo>
                    <a:pt x="77" y="226"/>
                    <a:pt x="80" y="225"/>
                    <a:pt x="83" y="225"/>
                  </a:cubicBezTo>
                  <a:cubicBezTo>
                    <a:pt x="117" y="225"/>
                    <a:pt x="117" y="225"/>
                    <a:pt x="117" y="225"/>
                  </a:cubicBezTo>
                  <a:cubicBezTo>
                    <a:pt x="118" y="217"/>
                    <a:pt x="118" y="217"/>
                    <a:pt x="118" y="217"/>
                  </a:cubicBezTo>
                  <a:cubicBezTo>
                    <a:pt x="108" y="212"/>
                    <a:pt x="108" y="212"/>
                    <a:pt x="108" y="212"/>
                  </a:cubicBezTo>
                  <a:cubicBezTo>
                    <a:pt x="105" y="210"/>
                    <a:pt x="103" y="207"/>
                    <a:pt x="103" y="203"/>
                  </a:cubicBezTo>
                  <a:cubicBezTo>
                    <a:pt x="103" y="200"/>
                    <a:pt x="105" y="196"/>
                    <a:pt x="108" y="194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115" y="172"/>
                    <a:pt x="115" y="172"/>
                    <a:pt x="115" y="172"/>
                  </a:cubicBezTo>
                  <a:cubicBezTo>
                    <a:pt x="112" y="170"/>
                    <a:pt x="110" y="166"/>
                    <a:pt x="110" y="16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3" y="145"/>
                    <a:pt x="102" y="140"/>
                    <a:pt x="105" y="136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15" y="120"/>
                    <a:pt x="118" y="118"/>
                    <a:pt x="122" y="118"/>
                  </a:cubicBezTo>
                  <a:cubicBezTo>
                    <a:pt x="125" y="118"/>
                    <a:pt x="128" y="119"/>
                    <a:pt x="130" y="122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9" y="150"/>
                    <a:pt x="169" y="150"/>
                    <a:pt x="169" y="150"/>
                  </a:cubicBezTo>
                  <a:cubicBezTo>
                    <a:pt x="171" y="148"/>
                    <a:pt x="174" y="147"/>
                    <a:pt x="176" y="147"/>
                  </a:cubicBezTo>
                  <a:cubicBezTo>
                    <a:pt x="199" y="147"/>
                    <a:pt x="199" y="147"/>
                    <a:pt x="199" y="147"/>
                  </a:cubicBezTo>
                  <a:cubicBezTo>
                    <a:pt x="250" y="139"/>
                    <a:pt x="250" y="139"/>
                    <a:pt x="250" y="139"/>
                  </a:cubicBezTo>
                  <a:cubicBezTo>
                    <a:pt x="280" y="120"/>
                    <a:pt x="280" y="120"/>
                    <a:pt x="280" y="120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1" y="113"/>
                    <a:pt x="251" y="114"/>
                    <a:pt x="250" y="115"/>
                  </a:cubicBezTo>
                  <a:cubicBezTo>
                    <a:pt x="233" y="132"/>
                    <a:pt x="233" y="132"/>
                    <a:pt x="233" y="132"/>
                  </a:cubicBezTo>
                  <a:cubicBezTo>
                    <a:pt x="232" y="133"/>
                    <a:pt x="232" y="133"/>
                    <a:pt x="232" y="133"/>
                  </a:cubicBezTo>
                  <a:cubicBezTo>
                    <a:pt x="223" y="140"/>
                    <a:pt x="223" y="140"/>
                    <a:pt x="223" y="140"/>
                  </a:cubicBezTo>
                  <a:cubicBezTo>
                    <a:pt x="220" y="142"/>
                    <a:pt x="215" y="143"/>
                    <a:pt x="212" y="140"/>
                  </a:cubicBezTo>
                  <a:cubicBezTo>
                    <a:pt x="202" y="134"/>
                    <a:pt x="202" y="134"/>
                    <a:pt x="202" y="134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77" y="137"/>
                    <a:pt x="172" y="134"/>
                    <a:pt x="171" y="129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6" y="105"/>
                    <a:pt x="167" y="101"/>
                    <a:pt x="169" y="99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2" y="46"/>
                    <a:pt x="223" y="45"/>
                    <a:pt x="225" y="45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30"/>
                    <a:pt x="279" y="30"/>
                    <a:pt x="279" y="30"/>
                  </a:cubicBezTo>
                  <a:cubicBezTo>
                    <a:pt x="344" y="20"/>
                    <a:pt x="344" y="20"/>
                    <a:pt x="344" y="20"/>
                  </a:cubicBezTo>
                  <a:cubicBezTo>
                    <a:pt x="349" y="19"/>
                    <a:pt x="354" y="22"/>
                    <a:pt x="355" y="27"/>
                  </a:cubicBezTo>
                  <a:cubicBezTo>
                    <a:pt x="359" y="43"/>
                    <a:pt x="359" y="43"/>
                    <a:pt x="359" y="43"/>
                  </a:cubicBezTo>
                  <a:cubicBezTo>
                    <a:pt x="361" y="47"/>
                    <a:pt x="359" y="52"/>
                    <a:pt x="355" y="54"/>
                  </a:cubicBezTo>
                  <a:cubicBezTo>
                    <a:pt x="329" y="72"/>
                    <a:pt x="329" y="72"/>
                    <a:pt x="329" y="72"/>
                  </a:cubicBezTo>
                  <a:cubicBezTo>
                    <a:pt x="331" y="81"/>
                    <a:pt x="331" y="81"/>
                    <a:pt x="331" y="81"/>
                  </a:cubicBezTo>
                  <a:cubicBezTo>
                    <a:pt x="356" y="62"/>
                    <a:pt x="356" y="62"/>
                    <a:pt x="356" y="62"/>
                  </a:cubicBezTo>
                  <a:cubicBezTo>
                    <a:pt x="357" y="61"/>
                    <a:pt x="358" y="61"/>
                    <a:pt x="359" y="60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90" y="52"/>
                    <a:pt x="390" y="52"/>
                    <a:pt x="390" y="52"/>
                  </a:cubicBezTo>
                  <a:cubicBezTo>
                    <a:pt x="446" y="43"/>
                    <a:pt x="446" y="43"/>
                    <a:pt x="446" y="43"/>
                  </a:cubicBezTo>
                  <a:cubicBezTo>
                    <a:pt x="447" y="43"/>
                    <a:pt x="448" y="43"/>
                    <a:pt x="448" y="43"/>
                  </a:cubicBezTo>
                  <a:cubicBezTo>
                    <a:pt x="472" y="44"/>
                    <a:pt x="472" y="44"/>
                    <a:pt x="472" y="44"/>
                  </a:cubicBezTo>
                  <a:cubicBezTo>
                    <a:pt x="471" y="41"/>
                    <a:pt x="471" y="36"/>
                    <a:pt x="474" y="33"/>
                  </a:cubicBezTo>
                  <a:cubicBezTo>
                    <a:pt x="493" y="14"/>
                    <a:pt x="493" y="14"/>
                    <a:pt x="493" y="14"/>
                  </a:cubicBezTo>
                  <a:cubicBezTo>
                    <a:pt x="497" y="10"/>
                    <a:pt x="504" y="10"/>
                    <a:pt x="508" y="13"/>
                  </a:cubicBezTo>
                  <a:cubicBezTo>
                    <a:pt x="523" y="28"/>
                    <a:pt x="523" y="28"/>
                    <a:pt x="523" y="28"/>
                  </a:cubicBezTo>
                  <a:cubicBezTo>
                    <a:pt x="580" y="1"/>
                    <a:pt x="580" y="1"/>
                    <a:pt x="580" y="1"/>
                  </a:cubicBezTo>
                  <a:cubicBezTo>
                    <a:pt x="581" y="1"/>
                    <a:pt x="583" y="0"/>
                    <a:pt x="584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7" y="0"/>
                    <a:pt x="691" y="5"/>
                    <a:pt x="691" y="11"/>
                  </a:cubicBezTo>
                  <a:cubicBezTo>
                    <a:pt x="691" y="20"/>
                    <a:pt x="691" y="20"/>
                    <a:pt x="691" y="20"/>
                  </a:cubicBezTo>
                  <a:cubicBezTo>
                    <a:pt x="814" y="33"/>
                    <a:pt x="814" y="33"/>
                    <a:pt x="814" y="33"/>
                  </a:cubicBezTo>
                  <a:cubicBezTo>
                    <a:pt x="854" y="24"/>
                    <a:pt x="854" y="24"/>
                    <a:pt x="854" y="24"/>
                  </a:cubicBezTo>
                  <a:cubicBezTo>
                    <a:pt x="855" y="24"/>
                    <a:pt x="856" y="24"/>
                    <a:pt x="857" y="24"/>
                  </a:cubicBezTo>
                  <a:cubicBezTo>
                    <a:pt x="954" y="35"/>
                    <a:pt x="1100" y="51"/>
                    <a:pt x="1108" y="52"/>
                  </a:cubicBezTo>
                  <a:cubicBezTo>
                    <a:pt x="1110" y="52"/>
                    <a:pt x="1116" y="52"/>
                    <a:pt x="1146" y="64"/>
                  </a:cubicBezTo>
                  <a:cubicBezTo>
                    <a:pt x="1150" y="66"/>
                    <a:pt x="1153" y="71"/>
                    <a:pt x="1152" y="75"/>
                  </a:cubicBezTo>
                  <a:cubicBezTo>
                    <a:pt x="1151" y="80"/>
                    <a:pt x="1147" y="84"/>
                    <a:pt x="1142" y="84"/>
                  </a:cubicBezTo>
                  <a:cubicBezTo>
                    <a:pt x="1109" y="86"/>
                    <a:pt x="1109" y="86"/>
                    <a:pt x="1109" y="86"/>
                  </a:cubicBezTo>
                  <a:cubicBezTo>
                    <a:pt x="1114" y="93"/>
                    <a:pt x="1114" y="93"/>
                    <a:pt x="1114" y="93"/>
                  </a:cubicBezTo>
                  <a:cubicBezTo>
                    <a:pt x="1115" y="96"/>
                    <a:pt x="1116" y="99"/>
                    <a:pt x="1115" y="102"/>
                  </a:cubicBezTo>
                  <a:cubicBezTo>
                    <a:pt x="1114" y="105"/>
                    <a:pt x="1112" y="107"/>
                    <a:pt x="1109" y="108"/>
                  </a:cubicBezTo>
                  <a:cubicBezTo>
                    <a:pt x="1076" y="124"/>
                    <a:pt x="1076" y="124"/>
                    <a:pt x="1076" y="124"/>
                  </a:cubicBezTo>
                  <a:cubicBezTo>
                    <a:pt x="1092" y="149"/>
                    <a:pt x="1092" y="149"/>
                    <a:pt x="1092" y="149"/>
                  </a:cubicBezTo>
                  <a:cubicBezTo>
                    <a:pt x="1094" y="153"/>
                    <a:pt x="1094" y="157"/>
                    <a:pt x="1091" y="161"/>
                  </a:cubicBezTo>
                  <a:cubicBezTo>
                    <a:pt x="1085" y="168"/>
                    <a:pt x="1085" y="168"/>
                    <a:pt x="1085" y="168"/>
                  </a:cubicBezTo>
                  <a:cubicBezTo>
                    <a:pt x="1082" y="172"/>
                    <a:pt x="1076" y="173"/>
                    <a:pt x="1072" y="170"/>
                  </a:cubicBezTo>
                  <a:cubicBezTo>
                    <a:pt x="1038" y="148"/>
                    <a:pt x="1038" y="148"/>
                    <a:pt x="1038" y="148"/>
                  </a:cubicBezTo>
                  <a:cubicBezTo>
                    <a:pt x="1035" y="146"/>
                    <a:pt x="1033" y="143"/>
                    <a:pt x="1033" y="139"/>
                  </a:cubicBezTo>
                  <a:cubicBezTo>
                    <a:pt x="1035" y="113"/>
                    <a:pt x="1035" y="113"/>
                    <a:pt x="1035" y="113"/>
                  </a:cubicBezTo>
                  <a:cubicBezTo>
                    <a:pt x="1010" y="113"/>
                    <a:pt x="1010" y="113"/>
                    <a:pt x="1010" y="113"/>
                  </a:cubicBezTo>
                  <a:cubicBezTo>
                    <a:pt x="1012" y="116"/>
                    <a:pt x="1012" y="120"/>
                    <a:pt x="1010" y="123"/>
                  </a:cubicBezTo>
                  <a:cubicBezTo>
                    <a:pt x="1008" y="126"/>
                    <a:pt x="1005" y="128"/>
                    <a:pt x="1001" y="128"/>
                  </a:cubicBezTo>
                  <a:cubicBezTo>
                    <a:pt x="951" y="128"/>
                    <a:pt x="951" y="128"/>
                    <a:pt x="951" y="128"/>
                  </a:cubicBezTo>
                  <a:cubicBezTo>
                    <a:pt x="940" y="145"/>
                    <a:pt x="940" y="145"/>
                    <a:pt x="940" y="145"/>
                  </a:cubicBezTo>
                  <a:cubicBezTo>
                    <a:pt x="974" y="153"/>
                    <a:pt x="974" y="153"/>
                    <a:pt x="974" y="153"/>
                  </a:cubicBezTo>
                  <a:cubicBezTo>
                    <a:pt x="976" y="154"/>
                    <a:pt x="977" y="154"/>
                    <a:pt x="978" y="156"/>
                  </a:cubicBezTo>
                  <a:cubicBezTo>
                    <a:pt x="1026" y="198"/>
                    <a:pt x="1026" y="198"/>
                    <a:pt x="1026" y="198"/>
                  </a:cubicBezTo>
                  <a:cubicBezTo>
                    <a:pt x="1029" y="201"/>
                    <a:pt x="1030" y="206"/>
                    <a:pt x="1028" y="210"/>
                  </a:cubicBezTo>
                  <a:cubicBezTo>
                    <a:pt x="1027" y="214"/>
                    <a:pt x="1022" y="216"/>
                    <a:pt x="1018" y="216"/>
                  </a:cubicBezTo>
                  <a:cubicBezTo>
                    <a:pt x="995" y="214"/>
                    <a:pt x="995" y="214"/>
                    <a:pt x="995" y="214"/>
                  </a:cubicBezTo>
                  <a:cubicBezTo>
                    <a:pt x="989" y="238"/>
                    <a:pt x="989" y="238"/>
                    <a:pt x="989" y="238"/>
                  </a:cubicBezTo>
                  <a:cubicBezTo>
                    <a:pt x="989" y="238"/>
                    <a:pt x="989" y="239"/>
                    <a:pt x="988" y="239"/>
                  </a:cubicBezTo>
                  <a:cubicBezTo>
                    <a:pt x="978" y="261"/>
                    <a:pt x="978" y="261"/>
                    <a:pt x="978" y="261"/>
                  </a:cubicBezTo>
                  <a:cubicBezTo>
                    <a:pt x="996" y="274"/>
                    <a:pt x="996" y="274"/>
                    <a:pt x="996" y="274"/>
                  </a:cubicBezTo>
                  <a:cubicBezTo>
                    <a:pt x="1000" y="278"/>
                    <a:pt x="1001" y="284"/>
                    <a:pt x="997" y="288"/>
                  </a:cubicBezTo>
                  <a:cubicBezTo>
                    <a:pt x="984" y="306"/>
                    <a:pt x="984" y="306"/>
                    <a:pt x="984" y="306"/>
                  </a:cubicBezTo>
                  <a:cubicBezTo>
                    <a:pt x="982" y="308"/>
                    <a:pt x="980" y="310"/>
                    <a:pt x="977" y="310"/>
                  </a:cubicBezTo>
                  <a:cubicBezTo>
                    <a:pt x="974" y="310"/>
                    <a:pt x="971" y="309"/>
                    <a:pt x="969" y="307"/>
                  </a:cubicBezTo>
                  <a:cubicBezTo>
                    <a:pt x="942" y="281"/>
                    <a:pt x="942" y="281"/>
                    <a:pt x="942" y="281"/>
                  </a:cubicBezTo>
                  <a:cubicBezTo>
                    <a:pt x="942" y="280"/>
                    <a:pt x="942" y="280"/>
                    <a:pt x="942" y="280"/>
                  </a:cubicBezTo>
                  <a:cubicBezTo>
                    <a:pt x="934" y="270"/>
                    <a:pt x="934" y="270"/>
                    <a:pt x="934" y="270"/>
                  </a:cubicBezTo>
                  <a:cubicBezTo>
                    <a:pt x="913" y="269"/>
                    <a:pt x="913" y="269"/>
                    <a:pt x="913" y="269"/>
                  </a:cubicBezTo>
                  <a:cubicBezTo>
                    <a:pt x="911" y="271"/>
                    <a:pt x="911" y="271"/>
                    <a:pt x="911" y="271"/>
                  </a:cubicBezTo>
                  <a:cubicBezTo>
                    <a:pt x="929" y="275"/>
                    <a:pt x="929" y="275"/>
                    <a:pt x="929" y="275"/>
                  </a:cubicBezTo>
                  <a:cubicBezTo>
                    <a:pt x="931" y="276"/>
                    <a:pt x="934" y="277"/>
                    <a:pt x="935" y="280"/>
                  </a:cubicBezTo>
                  <a:cubicBezTo>
                    <a:pt x="936" y="282"/>
                    <a:pt x="937" y="285"/>
                    <a:pt x="936" y="288"/>
                  </a:cubicBezTo>
                  <a:cubicBezTo>
                    <a:pt x="933" y="299"/>
                    <a:pt x="933" y="299"/>
                    <a:pt x="933" y="299"/>
                  </a:cubicBezTo>
                  <a:cubicBezTo>
                    <a:pt x="956" y="327"/>
                    <a:pt x="956" y="327"/>
                    <a:pt x="956" y="327"/>
                  </a:cubicBezTo>
                  <a:cubicBezTo>
                    <a:pt x="958" y="329"/>
                    <a:pt x="959" y="332"/>
                    <a:pt x="958" y="335"/>
                  </a:cubicBezTo>
                  <a:cubicBezTo>
                    <a:pt x="951" y="378"/>
                    <a:pt x="951" y="378"/>
                    <a:pt x="951" y="378"/>
                  </a:cubicBezTo>
                  <a:cubicBezTo>
                    <a:pt x="950" y="381"/>
                    <a:pt x="948" y="384"/>
                    <a:pt x="945" y="385"/>
                  </a:cubicBezTo>
                  <a:cubicBezTo>
                    <a:pt x="887" y="413"/>
                    <a:pt x="887" y="413"/>
                    <a:pt x="887" y="413"/>
                  </a:cubicBezTo>
                  <a:cubicBezTo>
                    <a:pt x="885" y="414"/>
                    <a:pt x="884" y="414"/>
                    <a:pt x="883" y="414"/>
                  </a:cubicBezTo>
                  <a:cubicBezTo>
                    <a:pt x="865" y="416"/>
                    <a:pt x="865" y="416"/>
                    <a:pt x="865" y="416"/>
                  </a:cubicBezTo>
                  <a:cubicBezTo>
                    <a:pt x="865" y="423"/>
                    <a:pt x="865" y="423"/>
                    <a:pt x="865" y="423"/>
                  </a:cubicBezTo>
                  <a:cubicBezTo>
                    <a:pt x="882" y="433"/>
                    <a:pt x="882" y="433"/>
                    <a:pt x="882" y="433"/>
                  </a:cubicBezTo>
                  <a:cubicBezTo>
                    <a:pt x="884" y="435"/>
                    <a:pt x="886" y="437"/>
                    <a:pt x="886" y="440"/>
                  </a:cubicBezTo>
                  <a:cubicBezTo>
                    <a:pt x="887" y="443"/>
                    <a:pt x="891" y="460"/>
                    <a:pt x="891" y="468"/>
                  </a:cubicBezTo>
                  <a:cubicBezTo>
                    <a:pt x="891" y="481"/>
                    <a:pt x="876" y="489"/>
                    <a:pt x="867" y="493"/>
                  </a:cubicBezTo>
                  <a:cubicBezTo>
                    <a:pt x="864" y="494"/>
                    <a:pt x="860" y="494"/>
                    <a:pt x="857" y="492"/>
                  </a:cubicBezTo>
                  <a:cubicBezTo>
                    <a:pt x="843" y="481"/>
                    <a:pt x="843" y="481"/>
                    <a:pt x="843" y="481"/>
                  </a:cubicBezTo>
                  <a:cubicBezTo>
                    <a:pt x="848" y="507"/>
                    <a:pt x="848" y="507"/>
                    <a:pt x="848" y="507"/>
                  </a:cubicBezTo>
                  <a:cubicBezTo>
                    <a:pt x="859" y="537"/>
                    <a:pt x="859" y="537"/>
                    <a:pt x="859" y="537"/>
                  </a:cubicBezTo>
                  <a:cubicBezTo>
                    <a:pt x="859" y="539"/>
                    <a:pt x="860" y="540"/>
                    <a:pt x="860" y="542"/>
                  </a:cubicBezTo>
                  <a:cubicBezTo>
                    <a:pt x="860" y="547"/>
                    <a:pt x="855" y="552"/>
                    <a:pt x="849" y="552"/>
                  </a:cubicBezTo>
                  <a:cubicBezTo>
                    <a:pt x="849" y="552"/>
                    <a:pt x="849" y="552"/>
                    <a:pt x="849" y="552"/>
                  </a:cubicBezTo>
                  <a:cubicBezTo>
                    <a:pt x="847" y="552"/>
                    <a:pt x="844" y="551"/>
                    <a:pt x="842" y="549"/>
                  </a:cubicBezTo>
                  <a:cubicBezTo>
                    <a:pt x="813" y="519"/>
                    <a:pt x="813" y="519"/>
                    <a:pt x="813" y="519"/>
                  </a:cubicBezTo>
                  <a:cubicBezTo>
                    <a:pt x="812" y="518"/>
                    <a:pt x="811" y="516"/>
                    <a:pt x="811" y="514"/>
                  </a:cubicBezTo>
                  <a:cubicBezTo>
                    <a:pt x="805" y="486"/>
                    <a:pt x="805" y="486"/>
                    <a:pt x="805" y="486"/>
                  </a:cubicBezTo>
                  <a:cubicBezTo>
                    <a:pt x="792" y="446"/>
                    <a:pt x="792" y="446"/>
                    <a:pt x="792" y="446"/>
                  </a:cubicBezTo>
                  <a:cubicBezTo>
                    <a:pt x="789" y="446"/>
                    <a:pt x="789" y="446"/>
                    <a:pt x="789" y="446"/>
                  </a:cubicBezTo>
                  <a:cubicBezTo>
                    <a:pt x="785" y="447"/>
                    <a:pt x="780" y="445"/>
                    <a:pt x="778" y="441"/>
                  </a:cubicBezTo>
                  <a:cubicBezTo>
                    <a:pt x="768" y="424"/>
                    <a:pt x="768" y="424"/>
                    <a:pt x="768" y="424"/>
                  </a:cubicBezTo>
                  <a:cubicBezTo>
                    <a:pt x="767" y="423"/>
                    <a:pt x="767" y="423"/>
                    <a:pt x="767" y="423"/>
                  </a:cubicBezTo>
                  <a:cubicBezTo>
                    <a:pt x="758" y="405"/>
                    <a:pt x="758" y="405"/>
                    <a:pt x="758" y="405"/>
                  </a:cubicBezTo>
                  <a:cubicBezTo>
                    <a:pt x="736" y="405"/>
                    <a:pt x="736" y="405"/>
                    <a:pt x="736" y="405"/>
                  </a:cubicBezTo>
                  <a:cubicBezTo>
                    <a:pt x="708" y="441"/>
                    <a:pt x="708" y="441"/>
                    <a:pt x="708" y="441"/>
                  </a:cubicBezTo>
                  <a:cubicBezTo>
                    <a:pt x="708" y="442"/>
                    <a:pt x="707" y="443"/>
                    <a:pt x="705" y="444"/>
                  </a:cubicBezTo>
                  <a:cubicBezTo>
                    <a:pt x="696" y="449"/>
                    <a:pt x="696" y="449"/>
                    <a:pt x="696" y="449"/>
                  </a:cubicBezTo>
                  <a:cubicBezTo>
                    <a:pt x="699" y="453"/>
                    <a:pt x="699" y="453"/>
                    <a:pt x="699" y="453"/>
                  </a:cubicBezTo>
                  <a:cubicBezTo>
                    <a:pt x="700" y="456"/>
                    <a:pt x="701" y="459"/>
                    <a:pt x="700" y="462"/>
                  </a:cubicBezTo>
                  <a:cubicBezTo>
                    <a:pt x="685" y="504"/>
                    <a:pt x="685" y="504"/>
                    <a:pt x="685" y="504"/>
                  </a:cubicBezTo>
                  <a:cubicBezTo>
                    <a:pt x="684" y="507"/>
                    <a:pt x="682" y="509"/>
                    <a:pt x="679" y="510"/>
                  </a:cubicBezTo>
                  <a:cubicBezTo>
                    <a:pt x="676" y="511"/>
                    <a:pt x="673" y="511"/>
                    <a:pt x="670" y="510"/>
                  </a:cubicBezTo>
                  <a:cubicBezTo>
                    <a:pt x="652" y="499"/>
                    <a:pt x="652" y="499"/>
                    <a:pt x="652" y="499"/>
                  </a:cubicBezTo>
                  <a:cubicBezTo>
                    <a:pt x="650" y="498"/>
                    <a:pt x="649" y="496"/>
                    <a:pt x="648" y="493"/>
                  </a:cubicBezTo>
                  <a:cubicBezTo>
                    <a:pt x="635" y="451"/>
                    <a:pt x="635" y="451"/>
                    <a:pt x="635" y="451"/>
                  </a:cubicBezTo>
                  <a:cubicBezTo>
                    <a:pt x="623" y="428"/>
                    <a:pt x="623" y="428"/>
                    <a:pt x="623" y="428"/>
                  </a:cubicBezTo>
                  <a:cubicBezTo>
                    <a:pt x="602" y="408"/>
                    <a:pt x="602" y="408"/>
                    <a:pt x="602" y="408"/>
                  </a:cubicBezTo>
                  <a:cubicBezTo>
                    <a:pt x="602" y="408"/>
                    <a:pt x="601" y="408"/>
                    <a:pt x="601" y="407"/>
                  </a:cubicBezTo>
                  <a:cubicBezTo>
                    <a:pt x="583" y="384"/>
                    <a:pt x="583" y="384"/>
                    <a:pt x="583" y="384"/>
                  </a:cubicBezTo>
                  <a:cubicBezTo>
                    <a:pt x="534" y="359"/>
                    <a:pt x="534" y="359"/>
                    <a:pt x="534" y="359"/>
                  </a:cubicBezTo>
                  <a:cubicBezTo>
                    <a:pt x="469" y="346"/>
                    <a:pt x="469" y="346"/>
                    <a:pt x="469" y="346"/>
                  </a:cubicBezTo>
                  <a:cubicBezTo>
                    <a:pt x="464" y="350"/>
                    <a:pt x="464" y="350"/>
                    <a:pt x="464" y="350"/>
                  </a:cubicBezTo>
                  <a:cubicBezTo>
                    <a:pt x="484" y="372"/>
                    <a:pt x="484" y="372"/>
                    <a:pt x="484" y="372"/>
                  </a:cubicBezTo>
                  <a:cubicBezTo>
                    <a:pt x="508" y="372"/>
                    <a:pt x="508" y="372"/>
                    <a:pt x="508" y="372"/>
                  </a:cubicBezTo>
                  <a:cubicBezTo>
                    <a:pt x="509" y="372"/>
                    <a:pt x="511" y="372"/>
                    <a:pt x="512" y="373"/>
                  </a:cubicBezTo>
                  <a:cubicBezTo>
                    <a:pt x="542" y="386"/>
                    <a:pt x="542" y="386"/>
                    <a:pt x="542" y="386"/>
                  </a:cubicBezTo>
                  <a:cubicBezTo>
                    <a:pt x="545" y="387"/>
                    <a:pt x="547" y="390"/>
                    <a:pt x="547" y="393"/>
                  </a:cubicBezTo>
                  <a:cubicBezTo>
                    <a:pt x="548" y="396"/>
                    <a:pt x="547" y="399"/>
                    <a:pt x="545" y="402"/>
                  </a:cubicBezTo>
                  <a:cubicBezTo>
                    <a:pt x="510" y="442"/>
                    <a:pt x="510" y="442"/>
                    <a:pt x="510" y="442"/>
                  </a:cubicBezTo>
                  <a:cubicBezTo>
                    <a:pt x="508" y="443"/>
                    <a:pt x="507" y="444"/>
                    <a:pt x="505" y="445"/>
                  </a:cubicBezTo>
                  <a:cubicBezTo>
                    <a:pt x="440" y="461"/>
                    <a:pt x="440" y="461"/>
                    <a:pt x="440" y="461"/>
                  </a:cubicBezTo>
                  <a:cubicBezTo>
                    <a:pt x="436" y="462"/>
                    <a:pt x="431" y="460"/>
                    <a:pt x="428" y="456"/>
                  </a:cubicBezTo>
                  <a:cubicBezTo>
                    <a:pt x="379" y="362"/>
                    <a:pt x="379" y="362"/>
                    <a:pt x="379" y="362"/>
                  </a:cubicBezTo>
                  <a:cubicBezTo>
                    <a:pt x="366" y="370"/>
                    <a:pt x="366" y="370"/>
                    <a:pt x="366" y="370"/>
                  </a:cubicBezTo>
                  <a:cubicBezTo>
                    <a:pt x="433" y="476"/>
                    <a:pt x="433" y="476"/>
                    <a:pt x="433" y="476"/>
                  </a:cubicBezTo>
                  <a:cubicBezTo>
                    <a:pt x="487" y="459"/>
                    <a:pt x="487" y="459"/>
                    <a:pt x="487" y="459"/>
                  </a:cubicBezTo>
                  <a:cubicBezTo>
                    <a:pt x="490" y="458"/>
                    <a:pt x="494" y="458"/>
                    <a:pt x="496" y="460"/>
                  </a:cubicBezTo>
                  <a:cubicBezTo>
                    <a:pt x="499" y="462"/>
                    <a:pt x="501" y="465"/>
                    <a:pt x="501" y="468"/>
                  </a:cubicBezTo>
                  <a:cubicBezTo>
                    <a:pt x="501" y="477"/>
                    <a:pt x="501" y="477"/>
                    <a:pt x="501" y="477"/>
                  </a:cubicBezTo>
                  <a:cubicBezTo>
                    <a:pt x="501" y="478"/>
                    <a:pt x="500" y="480"/>
                    <a:pt x="500" y="481"/>
                  </a:cubicBezTo>
                  <a:cubicBezTo>
                    <a:pt x="480" y="539"/>
                    <a:pt x="480" y="539"/>
                    <a:pt x="480" y="539"/>
                  </a:cubicBezTo>
                  <a:cubicBezTo>
                    <a:pt x="479" y="542"/>
                    <a:pt x="477" y="544"/>
                    <a:pt x="475" y="545"/>
                  </a:cubicBezTo>
                  <a:cubicBezTo>
                    <a:pt x="443" y="563"/>
                    <a:pt x="443" y="563"/>
                    <a:pt x="443" y="563"/>
                  </a:cubicBezTo>
                  <a:cubicBezTo>
                    <a:pt x="417" y="610"/>
                    <a:pt x="417" y="610"/>
                    <a:pt x="417" y="610"/>
                  </a:cubicBezTo>
                  <a:cubicBezTo>
                    <a:pt x="420" y="631"/>
                    <a:pt x="420" y="631"/>
                    <a:pt x="420" y="631"/>
                  </a:cubicBezTo>
                  <a:cubicBezTo>
                    <a:pt x="429" y="676"/>
                    <a:pt x="429" y="676"/>
                    <a:pt x="429" y="676"/>
                  </a:cubicBezTo>
                  <a:cubicBezTo>
                    <a:pt x="429" y="680"/>
                    <a:pt x="428" y="683"/>
                    <a:pt x="426" y="686"/>
                  </a:cubicBezTo>
                  <a:cubicBezTo>
                    <a:pt x="389" y="720"/>
                    <a:pt x="389" y="720"/>
                    <a:pt x="389" y="720"/>
                  </a:cubicBezTo>
                  <a:cubicBezTo>
                    <a:pt x="394" y="729"/>
                    <a:pt x="394" y="729"/>
                    <a:pt x="394" y="729"/>
                  </a:cubicBezTo>
                  <a:cubicBezTo>
                    <a:pt x="396" y="733"/>
                    <a:pt x="395" y="738"/>
                    <a:pt x="392" y="741"/>
                  </a:cubicBezTo>
                  <a:cubicBezTo>
                    <a:pt x="313" y="826"/>
                    <a:pt x="313" y="826"/>
                    <a:pt x="313" y="826"/>
                  </a:cubicBezTo>
                  <a:cubicBezTo>
                    <a:pt x="311" y="828"/>
                    <a:pt x="308" y="829"/>
                    <a:pt x="306" y="829"/>
                  </a:cubicBezTo>
                  <a:moveTo>
                    <a:pt x="1054" y="135"/>
                  </a:moveTo>
                  <a:cubicBezTo>
                    <a:pt x="1062" y="139"/>
                    <a:pt x="1062" y="139"/>
                    <a:pt x="1062" y="139"/>
                  </a:cubicBezTo>
                  <a:cubicBezTo>
                    <a:pt x="1055" y="128"/>
                    <a:pt x="1055" y="128"/>
                    <a:pt x="1055" y="128"/>
                  </a:cubicBezTo>
                  <a:cubicBezTo>
                    <a:pt x="1054" y="135"/>
                    <a:pt x="1054" y="135"/>
                    <a:pt x="1054" y="13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11787768" y="5439987"/>
              <a:ext cx="101528" cy="81221"/>
            </a:xfrm>
            <a:custGeom>
              <a:avLst/>
              <a:gdLst>
                <a:gd name="T0" fmla="*/ 18 w 53"/>
                <a:gd name="T1" fmla="*/ 43 h 43"/>
                <a:gd name="T2" fmla="*/ 14 w 53"/>
                <a:gd name="T3" fmla="*/ 42 h 43"/>
                <a:gd name="T4" fmla="*/ 8 w 53"/>
                <a:gd name="T5" fmla="*/ 35 h 43"/>
                <a:gd name="T6" fmla="*/ 1 w 53"/>
                <a:gd name="T7" fmla="*/ 14 h 43"/>
                <a:gd name="T8" fmla="*/ 4 w 53"/>
                <a:gd name="T9" fmla="*/ 4 h 43"/>
                <a:gd name="T10" fmla="*/ 14 w 53"/>
                <a:gd name="T11" fmla="*/ 1 h 43"/>
                <a:gd name="T12" fmla="*/ 46 w 53"/>
                <a:gd name="T13" fmla="*/ 12 h 43"/>
                <a:gd name="T14" fmla="*/ 53 w 53"/>
                <a:gd name="T15" fmla="*/ 21 h 43"/>
                <a:gd name="T16" fmla="*/ 46 w 53"/>
                <a:gd name="T17" fmla="*/ 31 h 43"/>
                <a:gd name="T18" fmla="*/ 22 w 53"/>
                <a:gd name="T19" fmla="*/ 42 h 43"/>
                <a:gd name="T20" fmla="*/ 18 w 53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43">
                  <a:moveTo>
                    <a:pt x="18" y="43"/>
                  </a:moveTo>
                  <a:cubicBezTo>
                    <a:pt x="16" y="43"/>
                    <a:pt x="15" y="42"/>
                    <a:pt x="14" y="42"/>
                  </a:cubicBezTo>
                  <a:cubicBezTo>
                    <a:pt x="11" y="40"/>
                    <a:pt x="9" y="38"/>
                    <a:pt x="8" y="3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1"/>
                    <a:pt x="1" y="7"/>
                    <a:pt x="4" y="4"/>
                  </a:cubicBezTo>
                  <a:cubicBezTo>
                    <a:pt x="7" y="1"/>
                    <a:pt x="11" y="0"/>
                    <a:pt x="14" y="1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50" y="13"/>
                    <a:pt x="52" y="17"/>
                    <a:pt x="53" y="21"/>
                  </a:cubicBezTo>
                  <a:cubicBezTo>
                    <a:pt x="53" y="26"/>
                    <a:pt x="50" y="29"/>
                    <a:pt x="46" y="31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1" y="42"/>
                    <a:pt x="19" y="43"/>
                    <a:pt x="18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11755279" y="5521208"/>
              <a:ext cx="138076" cy="146199"/>
            </a:xfrm>
            <a:custGeom>
              <a:avLst/>
              <a:gdLst>
                <a:gd name="T0" fmla="*/ 11 w 72"/>
                <a:gd name="T1" fmla="*/ 77 h 77"/>
                <a:gd name="T2" fmla="*/ 2 w 72"/>
                <a:gd name="T3" fmla="*/ 73 h 77"/>
                <a:gd name="T4" fmla="*/ 3 w 72"/>
                <a:gd name="T5" fmla="*/ 61 h 77"/>
                <a:gd name="T6" fmla="*/ 22 w 72"/>
                <a:gd name="T7" fmla="*/ 38 h 77"/>
                <a:gd name="T8" fmla="*/ 41 w 72"/>
                <a:gd name="T9" fmla="*/ 5 h 77"/>
                <a:gd name="T10" fmla="*/ 51 w 72"/>
                <a:gd name="T11" fmla="*/ 0 h 77"/>
                <a:gd name="T12" fmla="*/ 59 w 72"/>
                <a:gd name="T13" fmla="*/ 6 h 77"/>
                <a:gd name="T14" fmla="*/ 71 w 72"/>
                <a:gd name="T15" fmla="*/ 28 h 77"/>
                <a:gd name="T16" fmla="*/ 72 w 72"/>
                <a:gd name="T17" fmla="*/ 32 h 77"/>
                <a:gd name="T18" fmla="*/ 54 w 72"/>
                <a:gd name="T19" fmla="*/ 63 h 77"/>
                <a:gd name="T20" fmla="*/ 14 w 72"/>
                <a:gd name="T21" fmla="*/ 77 h 77"/>
                <a:gd name="T22" fmla="*/ 11 w 72"/>
                <a:gd name="T2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77">
                  <a:moveTo>
                    <a:pt x="11" y="77"/>
                  </a:moveTo>
                  <a:cubicBezTo>
                    <a:pt x="8" y="77"/>
                    <a:pt x="4" y="76"/>
                    <a:pt x="2" y="73"/>
                  </a:cubicBezTo>
                  <a:cubicBezTo>
                    <a:pt x="0" y="69"/>
                    <a:pt x="0" y="64"/>
                    <a:pt x="3" y="61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3" y="2"/>
                    <a:pt x="47" y="0"/>
                    <a:pt x="51" y="0"/>
                  </a:cubicBezTo>
                  <a:cubicBezTo>
                    <a:pt x="54" y="0"/>
                    <a:pt x="58" y="2"/>
                    <a:pt x="59" y="6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9"/>
                    <a:pt x="72" y="31"/>
                    <a:pt x="72" y="32"/>
                  </a:cubicBezTo>
                  <a:cubicBezTo>
                    <a:pt x="72" y="35"/>
                    <a:pt x="71" y="56"/>
                    <a:pt x="54" y="63"/>
                  </a:cubicBezTo>
                  <a:cubicBezTo>
                    <a:pt x="43" y="68"/>
                    <a:pt x="15" y="77"/>
                    <a:pt x="14" y="77"/>
                  </a:cubicBezTo>
                  <a:cubicBezTo>
                    <a:pt x="13" y="77"/>
                    <a:pt x="12" y="77"/>
                    <a:pt x="11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11523799" y="5971989"/>
              <a:ext cx="166505" cy="178687"/>
            </a:xfrm>
            <a:custGeom>
              <a:avLst/>
              <a:gdLst>
                <a:gd name="T0" fmla="*/ 57 w 87"/>
                <a:gd name="T1" fmla="*/ 94 h 94"/>
                <a:gd name="T2" fmla="*/ 55 w 87"/>
                <a:gd name="T3" fmla="*/ 94 h 94"/>
                <a:gd name="T4" fmla="*/ 16 w 87"/>
                <a:gd name="T5" fmla="*/ 83 h 94"/>
                <a:gd name="T6" fmla="*/ 9 w 87"/>
                <a:gd name="T7" fmla="*/ 77 h 94"/>
                <a:gd name="T8" fmla="*/ 1 w 87"/>
                <a:gd name="T9" fmla="*/ 56 h 94"/>
                <a:gd name="T10" fmla="*/ 1 w 87"/>
                <a:gd name="T11" fmla="*/ 48 h 94"/>
                <a:gd name="T12" fmla="*/ 7 w 87"/>
                <a:gd name="T13" fmla="*/ 42 h 94"/>
                <a:gd name="T14" fmla="*/ 23 w 87"/>
                <a:gd name="T15" fmla="*/ 36 h 94"/>
                <a:gd name="T16" fmla="*/ 37 w 87"/>
                <a:gd name="T17" fmla="*/ 20 h 94"/>
                <a:gd name="T18" fmla="*/ 61 w 87"/>
                <a:gd name="T19" fmla="*/ 0 h 94"/>
                <a:gd name="T20" fmla="*/ 84 w 87"/>
                <a:gd name="T21" fmla="*/ 22 h 94"/>
                <a:gd name="T22" fmla="*/ 86 w 87"/>
                <a:gd name="T23" fmla="*/ 31 h 94"/>
                <a:gd name="T24" fmla="*/ 67 w 87"/>
                <a:gd name="T25" fmla="*/ 87 h 94"/>
                <a:gd name="T26" fmla="*/ 57 w 87"/>
                <a:gd name="T27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94">
                  <a:moveTo>
                    <a:pt x="57" y="94"/>
                  </a:moveTo>
                  <a:cubicBezTo>
                    <a:pt x="57" y="94"/>
                    <a:pt x="56" y="94"/>
                    <a:pt x="55" y="94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2" y="83"/>
                    <a:pt x="10" y="80"/>
                    <a:pt x="9" y="77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3"/>
                    <a:pt x="0" y="50"/>
                    <a:pt x="1" y="48"/>
                  </a:cubicBezTo>
                  <a:cubicBezTo>
                    <a:pt x="2" y="45"/>
                    <a:pt x="4" y="43"/>
                    <a:pt x="7" y="42"/>
                  </a:cubicBezTo>
                  <a:cubicBezTo>
                    <a:pt x="13" y="40"/>
                    <a:pt x="20" y="38"/>
                    <a:pt x="23" y="36"/>
                  </a:cubicBezTo>
                  <a:cubicBezTo>
                    <a:pt x="26" y="32"/>
                    <a:pt x="33" y="24"/>
                    <a:pt x="37" y="20"/>
                  </a:cubicBezTo>
                  <a:cubicBezTo>
                    <a:pt x="53" y="1"/>
                    <a:pt x="56" y="0"/>
                    <a:pt x="61" y="0"/>
                  </a:cubicBezTo>
                  <a:cubicBezTo>
                    <a:pt x="66" y="0"/>
                    <a:pt x="69" y="1"/>
                    <a:pt x="84" y="22"/>
                  </a:cubicBezTo>
                  <a:cubicBezTo>
                    <a:pt x="86" y="24"/>
                    <a:pt x="87" y="28"/>
                    <a:pt x="86" y="31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6" y="91"/>
                    <a:pt x="62" y="94"/>
                    <a:pt x="57" y="9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1491311" y="6162858"/>
              <a:ext cx="121832" cy="60917"/>
            </a:xfrm>
            <a:custGeom>
              <a:avLst/>
              <a:gdLst>
                <a:gd name="T0" fmla="*/ 54 w 65"/>
                <a:gd name="T1" fmla="*/ 32 h 32"/>
                <a:gd name="T2" fmla="*/ 51 w 65"/>
                <a:gd name="T3" fmla="*/ 32 h 32"/>
                <a:gd name="T4" fmla="*/ 9 w 65"/>
                <a:gd name="T5" fmla="*/ 22 h 32"/>
                <a:gd name="T6" fmla="*/ 1 w 65"/>
                <a:gd name="T7" fmla="*/ 9 h 32"/>
                <a:gd name="T8" fmla="*/ 14 w 65"/>
                <a:gd name="T9" fmla="*/ 2 h 32"/>
                <a:gd name="T10" fmla="*/ 56 w 65"/>
                <a:gd name="T11" fmla="*/ 12 h 32"/>
                <a:gd name="T12" fmla="*/ 64 w 65"/>
                <a:gd name="T13" fmla="*/ 24 h 32"/>
                <a:gd name="T14" fmla="*/ 54 w 65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32">
                  <a:moveTo>
                    <a:pt x="54" y="32"/>
                  </a:moveTo>
                  <a:cubicBezTo>
                    <a:pt x="53" y="32"/>
                    <a:pt x="52" y="32"/>
                    <a:pt x="51" y="3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3" y="20"/>
                    <a:pt x="0" y="15"/>
                    <a:pt x="1" y="9"/>
                  </a:cubicBezTo>
                  <a:cubicBezTo>
                    <a:pt x="3" y="4"/>
                    <a:pt x="8" y="0"/>
                    <a:pt x="14" y="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2" y="13"/>
                    <a:pt x="65" y="19"/>
                    <a:pt x="64" y="24"/>
                  </a:cubicBezTo>
                  <a:cubicBezTo>
                    <a:pt x="63" y="29"/>
                    <a:pt x="58" y="32"/>
                    <a:pt x="54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11613143" y="6191286"/>
              <a:ext cx="69039" cy="44673"/>
            </a:xfrm>
            <a:custGeom>
              <a:avLst/>
              <a:gdLst>
                <a:gd name="T0" fmla="*/ 26 w 37"/>
                <a:gd name="T1" fmla="*/ 23 h 23"/>
                <a:gd name="T2" fmla="*/ 25 w 37"/>
                <a:gd name="T3" fmla="*/ 23 h 23"/>
                <a:gd name="T4" fmla="*/ 10 w 37"/>
                <a:gd name="T5" fmla="*/ 21 h 23"/>
                <a:gd name="T6" fmla="*/ 1 w 37"/>
                <a:gd name="T7" fmla="*/ 10 h 23"/>
                <a:gd name="T8" fmla="*/ 13 w 37"/>
                <a:gd name="T9" fmla="*/ 1 h 23"/>
                <a:gd name="T10" fmla="*/ 27 w 37"/>
                <a:gd name="T11" fmla="*/ 3 h 23"/>
                <a:gd name="T12" fmla="*/ 36 w 37"/>
                <a:gd name="T13" fmla="*/ 14 h 23"/>
                <a:gd name="T14" fmla="*/ 26 w 37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3">
                  <a:moveTo>
                    <a:pt x="26" y="23"/>
                  </a:moveTo>
                  <a:cubicBezTo>
                    <a:pt x="26" y="23"/>
                    <a:pt x="25" y="23"/>
                    <a:pt x="25" y="23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0"/>
                    <a:pt x="0" y="15"/>
                    <a:pt x="1" y="10"/>
                  </a:cubicBezTo>
                  <a:cubicBezTo>
                    <a:pt x="2" y="4"/>
                    <a:pt x="7" y="0"/>
                    <a:pt x="13" y="1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33" y="3"/>
                    <a:pt x="37" y="9"/>
                    <a:pt x="36" y="14"/>
                  </a:cubicBezTo>
                  <a:cubicBezTo>
                    <a:pt x="36" y="19"/>
                    <a:pt x="31" y="23"/>
                    <a:pt x="26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1856807" y="5947622"/>
              <a:ext cx="40611" cy="48733"/>
            </a:xfrm>
            <a:custGeom>
              <a:avLst/>
              <a:gdLst>
                <a:gd name="T0" fmla="*/ 10 w 21"/>
                <a:gd name="T1" fmla="*/ 26 h 26"/>
                <a:gd name="T2" fmla="*/ 0 w 21"/>
                <a:gd name="T3" fmla="*/ 16 h 26"/>
                <a:gd name="T4" fmla="*/ 0 w 21"/>
                <a:gd name="T5" fmla="*/ 10 h 26"/>
                <a:gd name="T6" fmla="*/ 10 w 21"/>
                <a:gd name="T7" fmla="*/ 0 h 26"/>
                <a:gd name="T8" fmla="*/ 21 w 21"/>
                <a:gd name="T9" fmla="*/ 10 h 26"/>
                <a:gd name="T10" fmla="*/ 21 w 21"/>
                <a:gd name="T11" fmla="*/ 16 h 26"/>
                <a:gd name="T12" fmla="*/ 10 w 2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6">
                  <a:moveTo>
                    <a:pt x="10" y="26"/>
                  </a:moveTo>
                  <a:cubicBezTo>
                    <a:pt x="5" y="26"/>
                    <a:pt x="0" y="22"/>
                    <a:pt x="0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16" y="0"/>
                    <a:pt x="21" y="5"/>
                    <a:pt x="21" y="10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22"/>
                    <a:pt x="16" y="26"/>
                    <a:pt x="10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11698424" y="5931378"/>
              <a:ext cx="85284" cy="97466"/>
            </a:xfrm>
            <a:custGeom>
              <a:avLst/>
              <a:gdLst>
                <a:gd name="T0" fmla="*/ 24 w 44"/>
                <a:gd name="T1" fmla="*/ 51 h 51"/>
                <a:gd name="T2" fmla="*/ 16 w 44"/>
                <a:gd name="T3" fmla="*/ 48 h 51"/>
                <a:gd name="T4" fmla="*/ 3 w 44"/>
                <a:gd name="T5" fmla="*/ 33 h 51"/>
                <a:gd name="T6" fmla="*/ 0 w 44"/>
                <a:gd name="T7" fmla="*/ 25 h 51"/>
                <a:gd name="T8" fmla="*/ 5 w 44"/>
                <a:gd name="T9" fmla="*/ 17 h 51"/>
                <a:gd name="T10" fmla="*/ 27 w 44"/>
                <a:gd name="T11" fmla="*/ 2 h 51"/>
                <a:gd name="T12" fmla="*/ 39 w 44"/>
                <a:gd name="T13" fmla="*/ 3 h 51"/>
                <a:gd name="T14" fmla="*/ 43 w 44"/>
                <a:gd name="T15" fmla="*/ 14 h 51"/>
                <a:gd name="T16" fmla="*/ 34 w 44"/>
                <a:gd name="T17" fmla="*/ 44 h 51"/>
                <a:gd name="T18" fmla="*/ 26 w 44"/>
                <a:gd name="T19" fmla="*/ 51 h 51"/>
                <a:gd name="T20" fmla="*/ 24 w 44"/>
                <a:gd name="T2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51">
                  <a:moveTo>
                    <a:pt x="24" y="51"/>
                  </a:moveTo>
                  <a:cubicBezTo>
                    <a:pt x="21" y="51"/>
                    <a:pt x="18" y="50"/>
                    <a:pt x="16" y="48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1" y="31"/>
                    <a:pt x="0" y="28"/>
                    <a:pt x="0" y="25"/>
                  </a:cubicBezTo>
                  <a:cubicBezTo>
                    <a:pt x="1" y="22"/>
                    <a:pt x="2" y="19"/>
                    <a:pt x="5" y="17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1" y="0"/>
                    <a:pt x="35" y="0"/>
                    <a:pt x="39" y="3"/>
                  </a:cubicBezTo>
                  <a:cubicBezTo>
                    <a:pt x="42" y="5"/>
                    <a:pt x="44" y="10"/>
                    <a:pt x="43" y="1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3" y="47"/>
                    <a:pt x="30" y="50"/>
                    <a:pt x="26" y="51"/>
                  </a:cubicBezTo>
                  <a:cubicBezTo>
                    <a:pt x="26" y="51"/>
                    <a:pt x="25" y="51"/>
                    <a:pt x="24" y="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11645631" y="5915134"/>
              <a:ext cx="60917" cy="60917"/>
            </a:xfrm>
            <a:custGeom>
              <a:avLst/>
              <a:gdLst>
                <a:gd name="T0" fmla="*/ 12 w 32"/>
                <a:gd name="T1" fmla="*/ 32 h 32"/>
                <a:gd name="T2" fmla="*/ 6 w 32"/>
                <a:gd name="T3" fmla="*/ 29 h 32"/>
                <a:gd name="T4" fmla="*/ 4 w 32"/>
                <a:gd name="T5" fmla="*/ 15 h 32"/>
                <a:gd name="T6" fmla="*/ 12 w 32"/>
                <a:gd name="T7" fmla="*/ 5 h 32"/>
                <a:gd name="T8" fmla="*/ 27 w 32"/>
                <a:gd name="T9" fmla="*/ 3 h 32"/>
                <a:gd name="T10" fmla="*/ 28 w 32"/>
                <a:gd name="T11" fmla="*/ 18 h 32"/>
                <a:gd name="T12" fmla="*/ 20 w 32"/>
                <a:gd name="T13" fmla="*/ 28 h 32"/>
                <a:gd name="T14" fmla="*/ 12 w 32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2">
                  <a:moveTo>
                    <a:pt x="12" y="32"/>
                  </a:moveTo>
                  <a:cubicBezTo>
                    <a:pt x="10" y="32"/>
                    <a:pt x="7" y="31"/>
                    <a:pt x="6" y="29"/>
                  </a:cubicBezTo>
                  <a:cubicBezTo>
                    <a:pt x="1" y="26"/>
                    <a:pt x="0" y="19"/>
                    <a:pt x="4" y="1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6" y="0"/>
                    <a:pt x="22" y="0"/>
                    <a:pt x="27" y="3"/>
                  </a:cubicBezTo>
                  <a:cubicBezTo>
                    <a:pt x="31" y="7"/>
                    <a:pt x="32" y="13"/>
                    <a:pt x="28" y="1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18" y="30"/>
                    <a:pt x="15" y="32"/>
                    <a:pt x="12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19" name="Freeform 17"/>
            <p:cNvSpPr>
              <a:spLocks noEditPoints="1"/>
            </p:cNvSpPr>
            <p:nvPr userDrawn="1"/>
          </p:nvSpPr>
          <p:spPr bwMode="auto">
            <a:xfrm>
              <a:off x="11665935" y="5785179"/>
              <a:ext cx="101528" cy="125894"/>
            </a:xfrm>
            <a:custGeom>
              <a:avLst/>
              <a:gdLst>
                <a:gd name="T0" fmla="*/ 43 w 53"/>
                <a:gd name="T1" fmla="*/ 66 h 66"/>
                <a:gd name="T2" fmla="*/ 42 w 53"/>
                <a:gd name="T3" fmla="*/ 66 h 66"/>
                <a:gd name="T4" fmla="*/ 9 w 53"/>
                <a:gd name="T5" fmla="*/ 64 h 66"/>
                <a:gd name="T6" fmla="*/ 2 w 53"/>
                <a:gd name="T7" fmla="*/ 60 h 66"/>
                <a:gd name="T8" fmla="*/ 0 w 53"/>
                <a:gd name="T9" fmla="*/ 53 h 66"/>
                <a:gd name="T10" fmla="*/ 4 w 53"/>
                <a:gd name="T11" fmla="*/ 10 h 66"/>
                <a:gd name="T12" fmla="*/ 12 w 53"/>
                <a:gd name="T13" fmla="*/ 1 h 66"/>
                <a:gd name="T14" fmla="*/ 23 w 53"/>
                <a:gd name="T15" fmla="*/ 5 h 66"/>
                <a:gd name="T16" fmla="*/ 51 w 53"/>
                <a:gd name="T17" fmla="*/ 50 h 66"/>
                <a:gd name="T18" fmla="*/ 53 w 53"/>
                <a:gd name="T19" fmla="*/ 56 h 66"/>
                <a:gd name="T20" fmla="*/ 43 w 53"/>
                <a:gd name="T21" fmla="*/ 66 h 66"/>
                <a:gd name="T22" fmla="*/ 21 w 53"/>
                <a:gd name="T23" fmla="*/ 44 h 66"/>
                <a:gd name="T24" fmla="*/ 23 w 53"/>
                <a:gd name="T25" fmla="*/ 44 h 66"/>
                <a:gd name="T26" fmla="*/ 22 w 53"/>
                <a:gd name="T27" fmla="*/ 42 h 66"/>
                <a:gd name="T28" fmla="*/ 21 w 53"/>
                <a:gd name="T29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66">
                  <a:moveTo>
                    <a:pt x="43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7" y="64"/>
                    <a:pt x="4" y="62"/>
                    <a:pt x="2" y="60"/>
                  </a:cubicBezTo>
                  <a:cubicBezTo>
                    <a:pt x="1" y="58"/>
                    <a:pt x="0" y="55"/>
                    <a:pt x="0" y="5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6"/>
                    <a:pt x="8" y="2"/>
                    <a:pt x="12" y="1"/>
                  </a:cubicBezTo>
                  <a:cubicBezTo>
                    <a:pt x="16" y="0"/>
                    <a:pt x="21" y="2"/>
                    <a:pt x="23" y="5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2" y="52"/>
                    <a:pt x="53" y="54"/>
                    <a:pt x="53" y="56"/>
                  </a:cubicBezTo>
                  <a:cubicBezTo>
                    <a:pt x="53" y="62"/>
                    <a:pt x="48" y="66"/>
                    <a:pt x="43" y="66"/>
                  </a:cubicBezTo>
                  <a:close/>
                  <a:moveTo>
                    <a:pt x="21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2" y="42"/>
                    <a:pt x="22" y="42"/>
                    <a:pt x="22" y="42"/>
                  </a:cubicBezTo>
                  <a:lnTo>
                    <a:pt x="21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0" name="Freeform 18"/>
            <p:cNvSpPr>
              <a:spLocks/>
            </p:cNvSpPr>
            <p:nvPr userDrawn="1"/>
          </p:nvSpPr>
          <p:spPr bwMode="auto">
            <a:xfrm>
              <a:off x="11661876" y="6065392"/>
              <a:ext cx="97466" cy="101528"/>
            </a:xfrm>
            <a:custGeom>
              <a:avLst/>
              <a:gdLst>
                <a:gd name="T0" fmla="*/ 11 w 51"/>
                <a:gd name="T1" fmla="*/ 54 h 54"/>
                <a:gd name="T2" fmla="*/ 7 w 51"/>
                <a:gd name="T3" fmla="*/ 53 h 54"/>
                <a:gd name="T4" fmla="*/ 2 w 51"/>
                <a:gd name="T5" fmla="*/ 40 h 54"/>
                <a:gd name="T6" fmla="*/ 15 w 51"/>
                <a:gd name="T7" fmla="*/ 6 h 54"/>
                <a:gd name="T8" fmla="*/ 25 w 51"/>
                <a:gd name="T9" fmla="*/ 0 h 54"/>
                <a:gd name="T10" fmla="*/ 41 w 51"/>
                <a:gd name="T11" fmla="*/ 0 h 54"/>
                <a:gd name="T12" fmla="*/ 51 w 51"/>
                <a:gd name="T13" fmla="*/ 10 h 54"/>
                <a:gd name="T14" fmla="*/ 41 w 51"/>
                <a:gd name="T15" fmla="*/ 21 h 54"/>
                <a:gd name="T16" fmla="*/ 32 w 51"/>
                <a:gd name="T17" fmla="*/ 21 h 54"/>
                <a:gd name="T18" fmla="*/ 21 w 51"/>
                <a:gd name="T19" fmla="*/ 48 h 54"/>
                <a:gd name="T20" fmla="*/ 11 w 51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54">
                  <a:moveTo>
                    <a:pt x="11" y="54"/>
                  </a:moveTo>
                  <a:cubicBezTo>
                    <a:pt x="10" y="54"/>
                    <a:pt x="9" y="54"/>
                    <a:pt x="7" y="53"/>
                  </a:cubicBezTo>
                  <a:cubicBezTo>
                    <a:pt x="2" y="51"/>
                    <a:pt x="0" y="45"/>
                    <a:pt x="2" y="40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7" y="3"/>
                    <a:pt x="21" y="0"/>
                    <a:pt x="2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6" y="0"/>
                    <a:pt x="51" y="5"/>
                    <a:pt x="51" y="10"/>
                  </a:cubicBezTo>
                  <a:cubicBezTo>
                    <a:pt x="51" y="16"/>
                    <a:pt x="46" y="21"/>
                    <a:pt x="4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19" y="52"/>
                    <a:pt x="15" y="54"/>
                    <a:pt x="11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11791830" y="6085699"/>
              <a:ext cx="276153" cy="186809"/>
            </a:xfrm>
            <a:custGeom>
              <a:avLst/>
              <a:gdLst>
                <a:gd name="T0" fmla="*/ 132 w 144"/>
                <a:gd name="T1" fmla="*/ 98 h 98"/>
                <a:gd name="T2" fmla="*/ 127 w 144"/>
                <a:gd name="T3" fmla="*/ 96 h 98"/>
                <a:gd name="T4" fmla="*/ 89 w 144"/>
                <a:gd name="T5" fmla="*/ 71 h 98"/>
                <a:gd name="T6" fmla="*/ 81 w 144"/>
                <a:gd name="T7" fmla="*/ 79 h 98"/>
                <a:gd name="T8" fmla="*/ 69 w 144"/>
                <a:gd name="T9" fmla="*/ 81 h 98"/>
                <a:gd name="T10" fmla="*/ 41 w 144"/>
                <a:gd name="T11" fmla="*/ 67 h 98"/>
                <a:gd name="T12" fmla="*/ 35 w 144"/>
                <a:gd name="T13" fmla="*/ 56 h 98"/>
                <a:gd name="T14" fmla="*/ 36 w 144"/>
                <a:gd name="T15" fmla="*/ 53 h 98"/>
                <a:gd name="T16" fmla="*/ 7 w 144"/>
                <a:gd name="T17" fmla="*/ 41 h 98"/>
                <a:gd name="T18" fmla="*/ 1 w 144"/>
                <a:gd name="T19" fmla="*/ 29 h 98"/>
                <a:gd name="T20" fmla="*/ 5 w 144"/>
                <a:gd name="T21" fmla="*/ 9 h 98"/>
                <a:gd name="T22" fmla="*/ 13 w 144"/>
                <a:gd name="T23" fmla="*/ 1 h 98"/>
                <a:gd name="T24" fmla="*/ 23 w 144"/>
                <a:gd name="T25" fmla="*/ 4 h 98"/>
                <a:gd name="T26" fmla="*/ 31 w 144"/>
                <a:gd name="T27" fmla="*/ 15 h 98"/>
                <a:gd name="T28" fmla="*/ 42 w 144"/>
                <a:gd name="T29" fmla="*/ 10 h 98"/>
                <a:gd name="T30" fmla="*/ 51 w 144"/>
                <a:gd name="T31" fmla="*/ 10 h 98"/>
                <a:gd name="T32" fmla="*/ 107 w 144"/>
                <a:gd name="T33" fmla="*/ 39 h 98"/>
                <a:gd name="T34" fmla="*/ 110 w 144"/>
                <a:gd name="T35" fmla="*/ 42 h 98"/>
                <a:gd name="T36" fmla="*/ 141 w 144"/>
                <a:gd name="T37" fmla="*/ 82 h 98"/>
                <a:gd name="T38" fmla="*/ 140 w 144"/>
                <a:gd name="T39" fmla="*/ 95 h 98"/>
                <a:gd name="T40" fmla="*/ 132 w 144"/>
                <a:gd name="T41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98">
                  <a:moveTo>
                    <a:pt x="132" y="98"/>
                  </a:moveTo>
                  <a:cubicBezTo>
                    <a:pt x="130" y="98"/>
                    <a:pt x="128" y="98"/>
                    <a:pt x="127" y="96"/>
                  </a:cubicBezTo>
                  <a:cubicBezTo>
                    <a:pt x="89" y="71"/>
                    <a:pt x="89" y="71"/>
                    <a:pt x="89" y="71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78" y="82"/>
                    <a:pt x="73" y="83"/>
                    <a:pt x="69" y="81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37" y="65"/>
                    <a:pt x="34" y="60"/>
                    <a:pt x="35" y="56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2" y="39"/>
                    <a:pt x="0" y="34"/>
                    <a:pt x="1" y="2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5"/>
                    <a:pt x="9" y="2"/>
                    <a:pt x="13" y="1"/>
                  </a:cubicBezTo>
                  <a:cubicBezTo>
                    <a:pt x="17" y="0"/>
                    <a:pt x="21" y="1"/>
                    <a:pt x="23" y="4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5" y="9"/>
                    <a:pt x="48" y="9"/>
                    <a:pt x="51" y="10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8" y="39"/>
                    <a:pt x="109" y="40"/>
                    <a:pt x="110" y="42"/>
                  </a:cubicBezTo>
                  <a:cubicBezTo>
                    <a:pt x="141" y="82"/>
                    <a:pt x="141" y="82"/>
                    <a:pt x="141" y="82"/>
                  </a:cubicBezTo>
                  <a:cubicBezTo>
                    <a:pt x="144" y="86"/>
                    <a:pt x="143" y="91"/>
                    <a:pt x="140" y="95"/>
                  </a:cubicBezTo>
                  <a:cubicBezTo>
                    <a:pt x="138" y="97"/>
                    <a:pt x="135" y="98"/>
                    <a:pt x="132" y="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2" name="Freeform 20"/>
            <p:cNvSpPr>
              <a:spLocks/>
            </p:cNvSpPr>
            <p:nvPr userDrawn="1"/>
          </p:nvSpPr>
          <p:spPr bwMode="auto">
            <a:xfrm>
              <a:off x="12023310" y="6110065"/>
              <a:ext cx="64977" cy="81221"/>
            </a:xfrm>
            <a:custGeom>
              <a:avLst/>
              <a:gdLst>
                <a:gd name="T0" fmla="*/ 16 w 34"/>
                <a:gd name="T1" fmla="*/ 43 h 43"/>
                <a:gd name="T2" fmla="*/ 11 w 34"/>
                <a:gd name="T3" fmla="*/ 41 h 43"/>
                <a:gd name="T4" fmla="*/ 7 w 34"/>
                <a:gd name="T5" fmla="*/ 27 h 43"/>
                <a:gd name="T6" fmla="*/ 9 w 34"/>
                <a:gd name="T7" fmla="*/ 23 h 43"/>
                <a:gd name="T8" fmla="*/ 5 w 34"/>
                <a:gd name="T9" fmla="*/ 19 h 43"/>
                <a:gd name="T10" fmla="*/ 4 w 34"/>
                <a:gd name="T11" fmla="*/ 5 h 43"/>
                <a:gd name="T12" fmla="*/ 18 w 34"/>
                <a:gd name="T13" fmla="*/ 4 h 43"/>
                <a:gd name="T14" fmla="*/ 29 w 34"/>
                <a:gd name="T15" fmla="*/ 13 h 43"/>
                <a:gd name="T16" fmla="*/ 31 w 34"/>
                <a:gd name="T17" fmla="*/ 26 h 43"/>
                <a:gd name="T18" fmla="*/ 25 w 34"/>
                <a:gd name="T19" fmla="*/ 37 h 43"/>
                <a:gd name="T20" fmla="*/ 16 w 34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43">
                  <a:moveTo>
                    <a:pt x="16" y="43"/>
                  </a:moveTo>
                  <a:cubicBezTo>
                    <a:pt x="14" y="43"/>
                    <a:pt x="12" y="42"/>
                    <a:pt x="11" y="41"/>
                  </a:cubicBezTo>
                  <a:cubicBezTo>
                    <a:pt x="6" y="39"/>
                    <a:pt x="4" y="32"/>
                    <a:pt x="7" y="27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0" y="15"/>
                    <a:pt x="0" y="9"/>
                    <a:pt x="4" y="5"/>
                  </a:cubicBezTo>
                  <a:cubicBezTo>
                    <a:pt x="7" y="0"/>
                    <a:pt x="14" y="0"/>
                    <a:pt x="18" y="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3" y="16"/>
                    <a:pt x="34" y="21"/>
                    <a:pt x="31" y="26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3" y="41"/>
                    <a:pt x="19" y="43"/>
                    <a:pt x="16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3" name="Freeform 21"/>
            <p:cNvSpPr>
              <a:spLocks/>
            </p:cNvSpPr>
            <p:nvPr userDrawn="1"/>
          </p:nvSpPr>
          <p:spPr bwMode="auto">
            <a:xfrm>
              <a:off x="12076105" y="6154735"/>
              <a:ext cx="109650" cy="93406"/>
            </a:xfrm>
            <a:custGeom>
              <a:avLst/>
              <a:gdLst>
                <a:gd name="T0" fmla="*/ 46 w 58"/>
                <a:gd name="T1" fmla="*/ 49 h 49"/>
                <a:gd name="T2" fmla="*/ 40 w 58"/>
                <a:gd name="T3" fmla="*/ 47 h 49"/>
                <a:gd name="T4" fmla="*/ 5 w 58"/>
                <a:gd name="T5" fmla="*/ 19 h 49"/>
                <a:gd name="T6" fmla="*/ 3 w 58"/>
                <a:gd name="T7" fmla="*/ 5 h 49"/>
                <a:gd name="T8" fmla="*/ 18 w 58"/>
                <a:gd name="T9" fmla="*/ 3 h 49"/>
                <a:gd name="T10" fmla="*/ 52 w 58"/>
                <a:gd name="T11" fmla="*/ 31 h 49"/>
                <a:gd name="T12" fmla="*/ 54 w 58"/>
                <a:gd name="T13" fmla="*/ 45 h 49"/>
                <a:gd name="T14" fmla="*/ 46 w 58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9">
                  <a:moveTo>
                    <a:pt x="46" y="49"/>
                  </a:moveTo>
                  <a:cubicBezTo>
                    <a:pt x="44" y="49"/>
                    <a:pt x="42" y="48"/>
                    <a:pt x="40" y="47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" y="16"/>
                    <a:pt x="0" y="9"/>
                    <a:pt x="3" y="5"/>
                  </a:cubicBezTo>
                  <a:cubicBezTo>
                    <a:pt x="7" y="0"/>
                    <a:pt x="13" y="0"/>
                    <a:pt x="18" y="3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7" y="34"/>
                    <a:pt x="58" y="41"/>
                    <a:pt x="54" y="45"/>
                  </a:cubicBezTo>
                  <a:cubicBezTo>
                    <a:pt x="52" y="48"/>
                    <a:pt x="49" y="49"/>
                    <a:pt x="46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auto">
            <a:xfrm>
              <a:off x="11357294" y="6016659"/>
              <a:ext cx="125894" cy="174627"/>
            </a:xfrm>
            <a:custGeom>
              <a:avLst/>
              <a:gdLst>
                <a:gd name="T0" fmla="*/ 50 w 65"/>
                <a:gd name="T1" fmla="*/ 92 h 92"/>
                <a:gd name="T2" fmla="*/ 42 w 65"/>
                <a:gd name="T3" fmla="*/ 89 h 92"/>
                <a:gd name="T4" fmla="*/ 30 w 65"/>
                <a:gd name="T5" fmla="*/ 76 h 92"/>
                <a:gd name="T6" fmla="*/ 27 w 65"/>
                <a:gd name="T7" fmla="*/ 72 h 92"/>
                <a:gd name="T8" fmla="*/ 18 w 65"/>
                <a:gd name="T9" fmla="*/ 40 h 92"/>
                <a:gd name="T10" fmla="*/ 3 w 65"/>
                <a:gd name="T11" fmla="*/ 17 h 92"/>
                <a:gd name="T12" fmla="*/ 5 w 65"/>
                <a:gd name="T13" fmla="*/ 3 h 92"/>
                <a:gd name="T14" fmla="*/ 19 w 65"/>
                <a:gd name="T15" fmla="*/ 4 h 92"/>
                <a:gd name="T16" fmla="*/ 62 w 65"/>
                <a:gd name="T17" fmla="*/ 49 h 92"/>
                <a:gd name="T18" fmla="*/ 65 w 65"/>
                <a:gd name="T19" fmla="*/ 58 h 92"/>
                <a:gd name="T20" fmla="*/ 60 w 65"/>
                <a:gd name="T21" fmla="*/ 84 h 92"/>
                <a:gd name="T22" fmla="*/ 52 w 65"/>
                <a:gd name="T23" fmla="*/ 92 h 92"/>
                <a:gd name="T24" fmla="*/ 50 w 65"/>
                <a:gd name="T2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92">
                  <a:moveTo>
                    <a:pt x="50" y="92"/>
                  </a:moveTo>
                  <a:cubicBezTo>
                    <a:pt x="47" y="92"/>
                    <a:pt x="44" y="91"/>
                    <a:pt x="42" y="89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5"/>
                    <a:pt x="28" y="74"/>
                    <a:pt x="27" y="72"/>
                  </a:cubicBezTo>
                  <a:cubicBezTo>
                    <a:pt x="24" y="61"/>
                    <a:pt x="19" y="44"/>
                    <a:pt x="18" y="40"/>
                  </a:cubicBezTo>
                  <a:cubicBezTo>
                    <a:pt x="16" y="37"/>
                    <a:pt x="9" y="26"/>
                    <a:pt x="3" y="17"/>
                  </a:cubicBezTo>
                  <a:cubicBezTo>
                    <a:pt x="0" y="13"/>
                    <a:pt x="1" y="7"/>
                    <a:pt x="5" y="3"/>
                  </a:cubicBezTo>
                  <a:cubicBezTo>
                    <a:pt x="10" y="0"/>
                    <a:pt x="16" y="1"/>
                    <a:pt x="19" y="4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4" y="52"/>
                    <a:pt x="65" y="55"/>
                    <a:pt x="65" y="58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59" y="88"/>
                    <a:pt x="56" y="91"/>
                    <a:pt x="52" y="92"/>
                  </a:cubicBezTo>
                  <a:cubicBezTo>
                    <a:pt x="51" y="92"/>
                    <a:pt x="50" y="92"/>
                    <a:pt x="5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11430393" y="6276568"/>
              <a:ext cx="568550" cy="414229"/>
            </a:xfrm>
            <a:custGeom>
              <a:avLst/>
              <a:gdLst>
                <a:gd name="T0" fmla="*/ 186 w 297"/>
                <a:gd name="T1" fmla="*/ 217 h 217"/>
                <a:gd name="T2" fmla="*/ 182 w 297"/>
                <a:gd name="T3" fmla="*/ 216 h 217"/>
                <a:gd name="T4" fmla="*/ 153 w 297"/>
                <a:gd name="T5" fmla="*/ 196 h 217"/>
                <a:gd name="T6" fmla="*/ 141 w 297"/>
                <a:gd name="T7" fmla="*/ 176 h 217"/>
                <a:gd name="T8" fmla="*/ 116 w 297"/>
                <a:gd name="T9" fmla="*/ 156 h 217"/>
                <a:gd name="T10" fmla="*/ 65 w 297"/>
                <a:gd name="T11" fmla="*/ 182 h 217"/>
                <a:gd name="T12" fmla="*/ 61 w 297"/>
                <a:gd name="T13" fmla="*/ 183 h 217"/>
                <a:gd name="T14" fmla="*/ 11 w 297"/>
                <a:gd name="T15" fmla="*/ 186 h 217"/>
                <a:gd name="T16" fmla="*/ 2 w 297"/>
                <a:gd name="T17" fmla="*/ 181 h 217"/>
                <a:gd name="T18" fmla="*/ 1 w 297"/>
                <a:gd name="T19" fmla="*/ 171 h 217"/>
                <a:gd name="T20" fmla="*/ 8 w 297"/>
                <a:gd name="T21" fmla="*/ 158 h 217"/>
                <a:gd name="T22" fmla="*/ 13 w 297"/>
                <a:gd name="T23" fmla="*/ 81 h 217"/>
                <a:gd name="T24" fmla="*/ 21 w 297"/>
                <a:gd name="T25" fmla="*/ 72 h 217"/>
                <a:gd name="T26" fmla="*/ 62 w 297"/>
                <a:gd name="T27" fmla="*/ 61 h 217"/>
                <a:gd name="T28" fmla="*/ 75 w 297"/>
                <a:gd name="T29" fmla="*/ 47 h 217"/>
                <a:gd name="T30" fmla="*/ 76 w 297"/>
                <a:gd name="T31" fmla="*/ 46 h 217"/>
                <a:gd name="T32" fmla="*/ 115 w 297"/>
                <a:gd name="T33" fmla="*/ 17 h 217"/>
                <a:gd name="T34" fmla="*/ 126 w 297"/>
                <a:gd name="T35" fmla="*/ 16 h 217"/>
                <a:gd name="T36" fmla="*/ 135 w 297"/>
                <a:gd name="T37" fmla="*/ 21 h 217"/>
                <a:gd name="T38" fmla="*/ 141 w 297"/>
                <a:gd name="T39" fmla="*/ 6 h 217"/>
                <a:gd name="T40" fmla="*/ 152 w 297"/>
                <a:gd name="T41" fmla="*/ 0 h 217"/>
                <a:gd name="T42" fmla="*/ 190 w 297"/>
                <a:gd name="T43" fmla="*/ 3 h 217"/>
                <a:gd name="T44" fmla="*/ 197 w 297"/>
                <a:gd name="T45" fmla="*/ 8 h 217"/>
                <a:gd name="T46" fmla="*/ 199 w 297"/>
                <a:gd name="T47" fmla="*/ 17 h 217"/>
                <a:gd name="T48" fmla="*/ 196 w 297"/>
                <a:gd name="T49" fmla="*/ 24 h 217"/>
                <a:gd name="T50" fmla="*/ 210 w 297"/>
                <a:gd name="T51" fmla="*/ 29 h 217"/>
                <a:gd name="T52" fmla="*/ 223 w 297"/>
                <a:gd name="T53" fmla="*/ 5 h 217"/>
                <a:gd name="T54" fmla="*/ 231 w 297"/>
                <a:gd name="T55" fmla="*/ 0 h 217"/>
                <a:gd name="T56" fmla="*/ 239 w 297"/>
                <a:gd name="T57" fmla="*/ 3 h 217"/>
                <a:gd name="T58" fmla="*/ 256 w 297"/>
                <a:gd name="T59" fmla="*/ 18 h 217"/>
                <a:gd name="T60" fmla="*/ 260 w 297"/>
                <a:gd name="T61" fmla="*/ 23 h 217"/>
                <a:gd name="T62" fmla="*/ 267 w 297"/>
                <a:gd name="T63" fmla="*/ 60 h 217"/>
                <a:gd name="T64" fmla="*/ 294 w 297"/>
                <a:gd name="T65" fmla="*/ 102 h 217"/>
                <a:gd name="T66" fmla="*/ 295 w 297"/>
                <a:gd name="T67" fmla="*/ 113 h 217"/>
                <a:gd name="T68" fmla="*/ 266 w 297"/>
                <a:gd name="T69" fmla="*/ 170 h 217"/>
                <a:gd name="T70" fmla="*/ 263 w 297"/>
                <a:gd name="T71" fmla="*/ 173 h 217"/>
                <a:gd name="T72" fmla="*/ 227 w 297"/>
                <a:gd name="T73" fmla="*/ 204 h 217"/>
                <a:gd name="T74" fmla="*/ 223 w 297"/>
                <a:gd name="T75" fmla="*/ 206 h 217"/>
                <a:gd name="T76" fmla="*/ 189 w 297"/>
                <a:gd name="T77" fmla="*/ 217 h 217"/>
                <a:gd name="T78" fmla="*/ 186 w 297"/>
                <a:gd name="T7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7" h="217">
                  <a:moveTo>
                    <a:pt x="186" y="217"/>
                  </a:moveTo>
                  <a:cubicBezTo>
                    <a:pt x="185" y="217"/>
                    <a:pt x="183" y="217"/>
                    <a:pt x="182" y="216"/>
                  </a:cubicBezTo>
                  <a:cubicBezTo>
                    <a:pt x="162" y="208"/>
                    <a:pt x="154" y="203"/>
                    <a:pt x="153" y="196"/>
                  </a:cubicBezTo>
                  <a:cubicBezTo>
                    <a:pt x="151" y="193"/>
                    <a:pt x="146" y="184"/>
                    <a:pt x="141" y="17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65" y="182"/>
                    <a:pt x="65" y="182"/>
                    <a:pt x="65" y="182"/>
                  </a:cubicBezTo>
                  <a:cubicBezTo>
                    <a:pt x="64" y="183"/>
                    <a:pt x="63" y="183"/>
                    <a:pt x="61" y="183"/>
                  </a:cubicBezTo>
                  <a:cubicBezTo>
                    <a:pt x="11" y="186"/>
                    <a:pt x="11" y="186"/>
                    <a:pt x="11" y="186"/>
                  </a:cubicBezTo>
                  <a:cubicBezTo>
                    <a:pt x="7" y="186"/>
                    <a:pt x="4" y="184"/>
                    <a:pt x="2" y="181"/>
                  </a:cubicBezTo>
                  <a:cubicBezTo>
                    <a:pt x="0" y="178"/>
                    <a:pt x="0" y="174"/>
                    <a:pt x="1" y="171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76"/>
                    <a:pt x="16" y="73"/>
                    <a:pt x="21" y="72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6"/>
                    <a:pt x="76" y="46"/>
                  </a:cubicBezTo>
                  <a:cubicBezTo>
                    <a:pt x="115" y="17"/>
                    <a:pt x="115" y="17"/>
                    <a:pt x="115" y="17"/>
                  </a:cubicBezTo>
                  <a:cubicBezTo>
                    <a:pt x="118" y="14"/>
                    <a:pt x="122" y="14"/>
                    <a:pt x="126" y="16"/>
                  </a:cubicBezTo>
                  <a:cubicBezTo>
                    <a:pt x="135" y="21"/>
                    <a:pt x="135" y="21"/>
                    <a:pt x="135" y="21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143" y="2"/>
                    <a:pt x="147" y="0"/>
                    <a:pt x="152" y="0"/>
                  </a:cubicBezTo>
                  <a:cubicBezTo>
                    <a:pt x="190" y="3"/>
                    <a:pt x="190" y="3"/>
                    <a:pt x="190" y="3"/>
                  </a:cubicBezTo>
                  <a:cubicBezTo>
                    <a:pt x="193" y="4"/>
                    <a:pt x="196" y="5"/>
                    <a:pt x="197" y="8"/>
                  </a:cubicBezTo>
                  <a:cubicBezTo>
                    <a:pt x="199" y="11"/>
                    <a:pt x="200" y="14"/>
                    <a:pt x="199" y="17"/>
                  </a:cubicBezTo>
                  <a:cubicBezTo>
                    <a:pt x="196" y="24"/>
                    <a:pt x="196" y="24"/>
                    <a:pt x="196" y="24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223" y="5"/>
                    <a:pt x="223" y="5"/>
                    <a:pt x="223" y="5"/>
                  </a:cubicBezTo>
                  <a:cubicBezTo>
                    <a:pt x="225" y="2"/>
                    <a:pt x="228" y="1"/>
                    <a:pt x="231" y="0"/>
                  </a:cubicBezTo>
                  <a:cubicBezTo>
                    <a:pt x="234" y="0"/>
                    <a:pt x="237" y="0"/>
                    <a:pt x="239" y="3"/>
                  </a:cubicBezTo>
                  <a:cubicBezTo>
                    <a:pt x="256" y="18"/>
                    <a:pt x="256" y="18"/>
                    <a:pt x="256" y="18"/>
                  </a:cubicBezTo>
                  <a:cubicBezTo>
                    <a:pt x="258" y="19"/>
                    <a:pt x="259" y="21"/>
                    <a:pt x="260" y="23"/>
                  </a:cubicBezTo>
                  <a:cubicBezTo>
                    <a:pt x="267" y="60"/>
                    <a:pt x="267" y="60"/>
                    <a:pt x="267" y="60"/>
                  </a:cubicBezTo>
                  <a:cubicBezTo>
                    <a:pt x="294" y="102"/>
                    <a:pt x="294" y="102"/>
                    <a:pt x="294" y="102"/>
                  </a:cubicBezTo>
                  <a:cubicBezTo>
                    <a:pt x="296" y="105"/>
                    <a:pt x="297" y="109"/>
                    <a:pt x="295" y="113"/>
                  </a:cubicBezTo>
                  <a:cubicBezTo>
                    <a:pt x="266" y="170"/>
                    <a:pt x="266" y="170"/>
                    <a:pt x="266" y="170"/>
                  </a:cubicBezTo>
                  <a:cubicBezTo>
                    <a:pt x="265" y="171"/>
                    <a:pt x="264" y="172"/>
                    <a:pt x="263" y="173"/>
                  </a:cubicBezTo>
                  <a:cubicBezTo>
                    <a:pt x="227" y="204"/>
                    <a:pt x="227" y="204"/>
                    <a:pt x="227" y="204"/>
                  </a:cubicBezTo>
                  <a:cubicBezTo>
                    <a:pt x="226" y="205"/>
                    <a:pt x="225" y="205"/>
                    <a:pt x="223" y="206"/>
                  </a:cubicBezTo>
                  <a:cubicBezTo>
                    <a:pt x="189" y="217"/>
                    <a:pt x="189" y="217"/>
                    <a:pt x="189" y="217"/>
                  </a:cubicBezTo>
                  <a:cubicBezTo>
                    <a:pt x="188" y="217"/>
                    <a:pt x="187" y="217"/>
                    <a:pt x="186" y="2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6" name="Freeform 24"/>
            <p:cNvSpPr>
              <a:spLocks/>
            </p:cNvSpPr>
            <p:nvPr userDrawn="1"/>
          </p:nvSpPr>
          <p:spPr bwMode="auto">
            <a:xfrm>
              <a:off x="11755279" y="6702981"/>
              <a:ext cx="73099" cy="77162"/>
            </a:xfrm>
            <a:custGeom>
              <a:avLst/>
              <a:gdLst>
                <a:gd name="T0" fmla="*/ 13 w 40"/>
                <a:gd name="T1" fmla="*/ 39 h 39"/>
                <a:gd name="T2" fmla="*/ 10 w 40"/>
                <a:gd name="T3" fmla="*/ 38 h 39"/>
                <a:gd name="T4" fmla="*/ 3 w 40"/>
                <a:gd name="T5" fmla="*/ 30 h 39"/>
                <a:gd name="T6" fmla="*/ 0 w 40"/>
                <a:gd name="T7" fmla="*/ 13 h 39"/>
                <a:gd name="T8" fmla="*/ 4 w 40"/>
                <a:gd name="T9" fmla="*/ 3 h 39"/>
                <a:gd name="T10" fmla="*/ 14 w 40"/>
                <a:gd name="T11" fmla="*/ 1 h 39"/>
                <a:gd name="T12" fmla="*/ 30 w 40"/>
                <a:gd name="T13" fmla="*/ 3 h 39"/>
                <a:gd name="T14" fmla="*/ 38 w 40"/>
                <a:gd name="T15" fmla="*/ 10 h 39"/>
                <a:gd name="T16" fmla="*/ 36 w 40"/>
                <a:gd name="T17" fmla="*/ 21 h 39"/>
                <a:gd name="T18" fmla="*/ 21 w 40"/>
                <a:gd name="T19" fmla="*/ 36 h 39"/>
                <a:gd name="T20" fmla="*/ 13 w 40"/>
                <a:gd name="T2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39">
                  <a:moveTo>
                    <a:pt x="13" y="39"/>
                  </a:moveTo>
                  <a:cubicBezTo>
                    <a:pt x="12" y="39"/>
                    <a:pt x="11" y="39"/>
                    <a:pt x="10" y="38"/>
                  </a:cubicBezTo>
                  <a:cubicBezTo>
                    <a:pt x="7" y="37"/>
                    <a:pt x="4" y="34"/>
                    <a:pt x="3" y="3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1" y="5"/>
                    <a:pt x="4" y="3"/>
                  </a:cubicBezTo>
                  <a:cubicBezTo>
                    <a:pt x="7" y="1"/>
                    <a:pt x="11" y="0"/>
                    <a:pt x="14" y="1"/>
                  </a:cubicBezTo>
                  <a:cubicBezTo>
                    <a:pt x="16" y="2"/>
                    <a:pt x="24" y="2"/>
                    <a:pt x="30" y="3"/>
                  </a:cubicBezTo>
                  <a:cubicBezTo>
                    <a:pt x="34" y="3"/>
                    <a:pt x="37" y="6"/>
                    <a:pt x="38" y="10"/>
                  </a:cubicBezTo>
                  <a:cubicBezTo>
                    <a:pt x="40" y="14"/>
                    <a:pt x="39" y="18"/>
                    <a:pt x="36" y="21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19" y="38"/>
                    <a:pt x="16" y="39"/>
                    <a:pt x="13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7" name="Freeform 25"/>
            <p:cNvSpPr>
              <a:spLocks/>
            </p:cNvSpPr>
            <p:nvPr userDrawn="1"/>
          </p:nvSpPr>
          <p:spPr bwMode="auto">
            <a:xfrm>
              <a:off x="12072042" y="6609576"/>
              <a:ext cx="105588" cy="117772"/>
            </a:xfrm>
            <a:custGeom>
              <a:avLst/>
              <a:gdLst>
                <a:gd name="T0" fmla="*/ 11 w 55"/>
                <a:gd name="T1" fmla="*/ 63 h 63"/>
                <a:gd name="T2" fmla="*/ 5 w 55"/>
                <a:gd name="T3" fmla="*/ 61 h 63"/>
                <a:gd name="T4" fmla="*/ 2 w 55"/>
                <a:gd name="T5" fmla="*/ 48 h 63"/>
                <a:gd name="T6" fmla="*/ 23 w 55"/>
                <a:gd name="T7" fmla="*/ 6 h 63"/>
                <a:gd name="T8" fmla="*/ 33 w 55"/>
                <a:gd name="T9" fmla="*/ 1 h 63"/>
                <a:gd name="T10" fmla="*/ 42 w 55"/>
                <a:gd name="T11" fmla="*/ 8 h 63"/>
                <a:gd name="T12" fmla="*/ 45 w 55"/>
                <a:gd name="T13" fmla="*/ 19 h 63"/>
                <a:gd name="T14" fmla="*/ 54 w 55"/>
                <a:gd name="T15" fmla="*/ 26 h 63"/>
                <a:gd name="T16" fmla="*/ 50 w 55"/>
                <a:gd name="T17" fmla="*/ 38 h 63"/>
                <a:gd name="T18" fmla="*/ 17 w 55"/>
                <a:gd name="T19" fmla="*/ 61 h 63"/>
                <a:gd name="T20" fmla="*/ 11 w 55"/>
                <a:gd name="T21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63">
                  <a:moveTo>
                    <a:pt x="11" y="63"/>
                  </a:moveTo>
                  <a:cubicBezTo>
                    <a:pt x="9" y="63"/>
                    <a:pt x="6" y="62"/>
                    <a:pt x="5" y="61"/>
                  </a:cubicBezTo>
                  <a:cubicBezTo>
                    <a:pt x="1" y="58"/>
                    <a:pt x="0" y="53"/>
                    <a:pt x="2" y="48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4" y="2"/>
                    <a:pt x="29" y="0"/>
                    <a:pt x="33" y="1"/>
                  </a:cubicBezTo>
                  <a:cubicBezTo>
                    <a:pt x="37" y="1"/>
                    <a:pt x="41" y="4"/>
                    <a:pt x="42" y="8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9" y="19"/>
                    <a:pt x="52" y="22"/>
                    <a:pt x="54" y="26"/>
                  </a:cubicBezTo>
                  <a:cubicBezTo>
                    <a:pt x="55" y="30"/>
                    <a:pt x="54" y="35"/>
                    <a:pt x="50" y="38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5" y="62"/>
                    <a:pt x="13" y="63"/>
                    <a:pt x="11" y="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8" name="Freeform 26"/>
            <p:cNvSpPr>
              <a:spLocks/>
            </p:cNvSpPr>
            <p:nvPr userDrawn="1"/>
          </p:nvSpPr>
          <p:spPr bwMode="auto">
            <a:xfrm>
              <a:off x="11889296" y="6694859"/>
              <a:ext cx="174627" cy="121832"/>
            </a:xfrm>
            <a:custGeom>
              <a:avLst/>
              <a:gdLst>
                <a:gd name="T0" fmla="*/ 12 w 92"/>
                <a:gd name="T1" fmla="*/ 63 h 63"/>
                <a:gd name="T2" fmla="*/ 3 w 92"/>
                <a:gd name="T3" fmla="*/ 58 h 63"/>
                <a:gd name="T4" fmla="*/ 6 w 92"/>
                <a:gd name="T5" fmla="*/ 44 h 63"/>
                <a:gd name="T6" fmla="*/ 72 w 92"/>
                <a:gd name="T7" fmla="*/ 2 h 63"/>
                <a:gd name="T8" fmla="*/ 81 w 92"/>
                <a:gd name="T9" fmla="*/ 1 h 63"/>
                <a:gd name="T10" fmla="*/ 87 w 92"/>
                <a:gd name="T11" fmla="*/ 7 h 63"/>
                <a:gd name="T12" fmla="*/ 90 w 92"/>
                <a:gd name="T13" fmla="*/ 19 h 63"/>
                <a:gd name="T14" fmla="*/ 85 w 92"/>
                <a:gd name="T15" fmla="*/ 31 h 63"/>
                <a:gd name="T16" fmla="*/ 16 w 92"/>
                <a:gd name="T17" fmla="*/ 62 h 63"/>
                <a:gd name="T18" fmla="*/ 12 w 92"/>
                <a:gd name="T1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63">
                  <a:moveTo>
                    <a:pt x="12" y="63"/>
                  </a:moveTo>
                  <a:cubicBezTo>
                    <a:pt x="8" y="63"/>
                    <a:pt x="5" y="61"/>
                    <a:pt x="3" y="58"/>
                  </a:cubicBezTo>
                  <a:cubicBezTo>
                    <a:pt x="0" y="53"/>
                    <a:pt x="2" y="47"/>
                    <a:pt x="6" y="44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4" y="0"/>
                    <a:pt x="78" y="0"/>
                    <a:pt x="81" y="1"/>
                  </a:cubicBezTo>
                  <a:cubicBezTo>
                    <a:pt x="84" y="2"/>
                    <a:pt x="86" y="4"/>
                    <a:pt x="87" y="7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92" y="23"/>
                    <a:pt x="90" y="29"/>
                    <a:pt x="85" y="31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5" y="63"/>
                    <a:pt x="13" y="63"/>
                    <a:pt x="12" y="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auto">
            <a:xfrm>
              <a:off x="10638486" y="6252201"/>
              <a:ext cx="129954" cy="231482"/>
            </a:xfrm>
            <a:custGeom>
              <a:avLst/>
              <a:gdLst>
                <a:gd name="T0" fmla="*/ 33 w 69"/>
                <a:gd name="T1" fmla="*/ 120 h 120"/>
                <a:gd name="T2" fmla="*/ 28 w 69"/>
                <a:gd name="T3" fmla="*/ 119 h 120"/>
                <a:gd name="T4" fmla="*/ 6 w 69"/>
                <a:gd name="T5" fmla="*/ 105 h 120"/>
                <a:gd name="T6" fmla="*/ 3 w 69"/>
                <a:gd name="T7" fmla="*/ 92 h 120"/>
                <a:gd name="T8" fmla="*/ 8 w 69"/>
                <a:gd name="T9" fmla="*/ 81 h 120"/>
                <a:gd name="T10" fmla="*/ 11 w 69"/>
                <a:gd name="T11" fmla="*/ 52 h 120"/>
                <a:gd name="T12" fmla="*/ 13 w 69"/>
                <a:gd name="T13" fmla="*/ 48 h 120"/>
                <a:gd name="T14" fmla="*/ 23 w 69"/>
                <a:gd name="T15" fmla="*/ 32 h 120"/>
                <a:gd name="T16" fmla="*/ 24 w 69"/>
                <a:gd name="T17" fmla="*/ 31 h 120"/>
                <a:gd name="T18" fmla="*/ 47 w 69"/>
                <a:gd name="T19" fmla="*/ 4 h 120"/>
                <a:gd name="T20" fmla="*/ 58 w 69"/>
                <a:gd name="T21" fmla="*/ 1 h 120"/>
                <a:gd name="T22" fmla="*/ 65 w 69"/>
                <a:gd name="T23" fmla="*/ 9 h 120"/>
                <a:gd name="T24" fmla="*/ 69 w 69"/>
                <a:gd name="T25" fmla="*/ 29 h 120"/>
                <a:gd name="T26" fmla="*/ 68 w 69"/>
                <a:gd name="T27" fmla="*/ 34 h 120"/>
                <a:gd name="T28" fmla="*/ 43 w 69"/>
                <a:gd name="T29" fmla="*/ 113 h 120"/>
                <a:gd name="T30" fmla="*/ 37 w 69"/>
                <a:gd name="T31" fmla="*/ 120 h 120"/>
                <a:gd name="T32" fmla="*/ 33 w 69"/>
                <a:gd name="T3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9" h="120">
                  <a:moveTo>
                    <a:pt x="33" y="120"/>
                  </a:moveTo>
                  <a:cubicBezTo>
                    <a:pt x="31" y="120"/>
                    <a:pt x="29" y="120"/>
                    <a:pt x="28" y="119"/>
                  </a:cubicBezTo>
                  <a:cubicBezTo>
                    <a:pt x="6" y="105"/>
                    <a:pt x="6" y="105"/>
                    <a:pt x="6" y="105"/>
                  </a:cubicBezTo>
                  <a:cubicBezTo>
                    <a:pt x="2" y="103"/>
                    <a:pt x="0" y="97"/>
                    <a:pt x="3" y="92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1"/>
                    <a:pt x="12" y="49"/>
                    <a:pt x="13" y="4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50" y="1"/>
                    <a:pt x="54" y="0"/>
                    <a:pt x="58" y="1"/>
                  </a:cubicBezTo>
                  <a:cubicBezTo>
                    <a:pt x="62" y="2"/>
                    <a:pt x="64" y="5"/>
                    <a:pt x="65" y="9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69" y="31"/>
                    <a:pt x="69" y="32"/>
                    <a:pt x="68" y="34"/>
                  </a:cubicBezTo>
                  <a:cubicBezTo>
                    <a:pt x="43" y="113"/>
                    <a:pt x="43" y="113"/>
                    <a:pt x="43" y="113"/>
                  </a:cubicBezTo>
                  <a:cubicBezTo>
                    <a:pt x="42" y="116"/>
                    <a:pt x="40" y="119"/>
                    <a:pt x="37" y="120"/>
                  </a:cubicBezTo>
                  <a:cubicBezTo>
                    <a:pt x="35" y="120"/>
                    <a:pt x="34" y="120"/>
                    <a:pt x="33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30" name="Freeform 28"/>
            <p:cNvSpPr>
              <a:spLocks/>
            </p:cNvSpPr>
            <p:nvPr userDrawn="1"/>
          </p:nvSpPr>
          <p:spPr bwMode="auto">
            <a:xfrm>
              <a:off x="9001873" y="5760813"/>
              <a:ext cx="170565" cy="77162"/>
            </a:xfrm>
            <a:custGeom>
              <a:avLst/>
              <a:gdLst>
                <a:gd name="T0" fmla="*/ 38 w 88"/>
                <a:gd name="T1" fmla="*/ 41 h 41"/>
                <a:gd name="T2" fmla="*/ 28 w 88"/>
                <a:gd name="T3" fmla="*/ 32 h 41"/>
                <a:gd name="T4" fmla="*/ 37 w 88"/>
                <a:gd name="T5" fmla="*/ 21 h 41"/>
                <a:gd name="T6" fmla="*/ 39 w 88"/>
                <a:gd name="T7" fmla="*/ 21 h 41"/>
                <a:gd name="T8" fmla="*/ 38 w 88"/>
                <a:gd name="T9" fmla="*/ 20 h 41"/>
                <a:gd name="T10" fmla="*/ 10 w 88"/>
                <a:gd name="T11" fmla="*/ 20 h 41"/>
                <a:gd name="T12" fmla="*/ 0 w 88"/>
                <a:gd name="T13" fmla="*/ 10 h 41"/>
                <a:gd name="T14" fmla="*/ 10 w 88"/>
                <a:gd name="T15" fmla="*/ 0 h 41"/>
                <a:gd name="T16" fmla="*/ 41 w 88"/>
                <a:gd name="T17" fmla="*/ 0 h 41"/>
                <a:gd name="T18" fmla="*/ 46 w 88"/>
                <a:gd name="T19" fmla="*/ 1 h 41"/>
                <a:gd name="T20" fmla="*/ 60 w 88"/>
                <a:gd name="T21" fmla="*/ 9 h 41"/>
                <a:gd name="T22" fmla="*/ 81 w 88"/>
                <a:gd name="T23" fmla="*/ 17 h 41"/>
                <a:gd name="T24" fmla="*/ 87 w 88"/>
                <a:gd name="T25" fmla="*/ 28 h 41"/>
                <a:gd name="T26" fmla="*/ 78 w 88"/>
                <a:gd name="T27" fmla="*/ 37 h 41"/>
                <a:gd name="T28" fmla="*/ 39 w 88"/>
                <a:gd name="T29" fmla="*/ 41 h 41"/>
                <a:gd name="T30" fmla="*/ 38 w 88"/>
                <a:gd name="T3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41">
                  <a:moveTo>
                    <a:pt x="38" y="41"/>
                  </a:moveTo>
                  <a:cubicBezTo>
                    <a:pt x="33" y="41"/>
                    <a:pt x="28" y="38"/>
                    <a:pt x="28" y="32"/>
                  </a:cubicBezTo>
                  <a:cubicBezTo>
                    <a:pt x="27" y="27"/>
                    <a:pt x="31" y="22"/>
                    <a:pt x="37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0"/>
                    <a:pt x="44" y="0"/>
                    <a:pt x="46" y="1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5" y="19"/>
                    <a:pt x="88" y="24"/>
                    <a:pt x="87" y="28"/>
                  </a:cubicBezTo>
                  <a:cubicBezTo>
                    <a:pt x="86" y="33"/>
                    <a:pt x="83" y="37"/>
                    <a:pt x="78" y="37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41"/>
                    <a:pt x="38" y="41"/>
                    <a:pt x="38" y="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31" name="Freeform 29"/>
            <p:cNvSpPr>
              <a:spLocks/>
            </p:cNvSpPr>
            <p:nvPr userDrawn="1"/>
          </p:nvSpPr>
          <p:spPr bwMode="auto">
            <a:xfrm>
              <a:off x="9204926" y="5797361"/>
              <a:ext cx="109650" cy="52795"/>
            </a:xfrm>
            <a:custGeom>
              <a:avLst/>
              <a:gdLst>
                <a:gd name="T0" fmla="*/ 47 w 58"/>
                <a:gd name="T1" fmla="*/ 27 h 27"/>
                <a:gd name="T2" fmla="*/ 46 w 58"/>
                <a:gd name="T3" fmla="*/ 27 h 27"/>
                <a:gd name="T4" fmla="*/ 10 w 58"/>
                <a:gd name="T5" fmla="*/ 21 h 27"/>
                <a:gd name="T6" fmla="*/ 1 w 58"/>
                <a:gd name="T7" fmla="*/ 10 h 27"/>
                <a:gd name="T8" fmla="*/ 13 w 58"/>
                <a:gd name="T9" fmla="*/ 1 h 27"/>
                <a:gd name="T10" fmla="*/ 49 w 58"/>
                <a:gd name="T11" fmla="*/ 6 h 27"/>
                <a:gd name="T12" fmla="*/ 57 w 58"/>
                <a:gd name="T13" fmla="*/ 18 h 27"/>
                <a:gd name="T14" fmla="*/ 47 w 58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27">
                  <a:moveTo>
                    <a:pt x="47" y="27"/>
                  </a:moveTo>
                  <a:cubicBezTo>
                    <a:pt x="47" y="27"/>
                    <a:pt x="46" y="27"/>
                    <a:pt x="46" y="27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4" y="21"/>
                    <a:pt x="0" y="15"/>
                    <a:pt x="1" y="10"/>
                  </a:cubicBezTo>
                  <a:cubicBezTo>
                    <a:pt x="2" y="4"/>
                    <a:pt x="7" y="0"/>
                    <a:pt x="13" y="1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4" y="7"/>
                    <a:pt x="58" y="12"/>
                    <a:pt x="57" y="18"/>
                  </a:cubicBezTo>
                  <a:cubicBezTo>
                    <a:pt x="57" y="23"/>
                    <a:pt x="52" y="27"/>
                    <a:pt x="47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34" name="Freeform 30"/>
            <p:cNvSpPr>
              <a:spLocks/>
            </p:cNvSpPr>
            <p:nvPr userDrawn="1"/>
          </p:nvSpPr>
          <p:spPr bwMode="auto">
            <a:xfrm>
              <a:off x="9302392" y="5846094"/>
              <a:ext cx="52795" cy="69039"/>
            </a:xfrm>
            <a:custGeom>
              <a:avLst/>
              <a:gdLst>
                <a:gd name="T0" fmla="*/ 16 w 27"/>
                <a:gd name="T1" fmla="*/ 35 h 35"/>
                <a:gd name="T2" fmla="*/ 6 w 27"/>
                <a:gd name="T3" fmla="*/ 28 h 35"/>
                <a:gd name="T4" fmla="*/ 2 w 27"/>
                <a:gd name="T5" fmla="*/ 15 h 35"/>
                <a:gd name="T6" fmla="*/ 8 w 27"/>
                <a:gd name="T7" fmla="*/ 2 h 35"/>
                <a:gd name="T8" fmla="*/ 21 w 27"/>
                <a:gd name="T9" fmla="*/ 9 h 35"/>
                <a:gd name="T10" fmla="*/ 26 w 27"/>
                <a:gd name="T11" fmla="*/ 22 h 35"/>
                <a:gd name="T12" fmla="*/ 19 w 27"/>
                <a:gd name="T13" fmla="*/ 35 h 35"/>
                <a:gd name="T14" fmla="*/ 16 w 27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5">
                  <a:moveTo>
                    <a:pt x="16" y="35"/>
                  </a:moveTo>
                  <a:cubicBezTo>
                    <a:pt x="11" y="35"/>
                    <a:pt x="7" y="33"/>
                    <a:pt x="6" y="28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0"/>
                    <a:pt x="3" y="4"/>
                    <a:pt x="8" y="2"/>
                  </a:cubicBezTo>
                  <a:cubicBezTo>
                    <a:pt x="14" y="0"/>
                    <a:pt x="19" y="3"/>
                    <a:pt x="21" y="9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7"/>
                    <a:pt x="24" y="33"/>
                    <a:pt x="19" y="35"/>
                  </a:cubicBezTo>
                  <a:cubicBezTo>
                    <a:pt x="18" y="35"/>
                    <a:pt x="17" y="35"/>
                    <a:pt x="16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</p:grpSp>
      <p:grpSp>
        <p:nvGrpSpPr>
          <p:cNvPr id="93" name="Group 92"/>
          <p:cNvGrpSpPr/>
          <p:nvPr userDrawn="1"/>
        </p:nvGrpSpPr>
        <p:grpSpPr>
          <a:xfrm>
            <a:off x="8715434" y="2220036"/>
            <a:ext cx="2540030" cy="3030154"/>
            <a:chOff x="8640439" y="2264229"/>
            <a:chExt cx="2590963" cy="3090477"/>
          </a:xfrm>
        </p:grpSpPr>
        <p:sp>
          <p:nvSpPr>
            <p:cNvPr id="235" name="Oval 31"/>
            <p:cNvSpPr>
              <a:spLocks noChangeArrowheads="1"/>
            </p:cNvSpPr>
            <p:nvPr userDrawn="1"/>
          </p:nvSpPr>
          <p:spPr bwMode="auto">
            <a:xfrm>
              <a:off x="10492287" y="2272351"/>
              <a:ext cx="471084" cy="507635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36" name="Freeform 32"/>
            <p:cNvSpPr>
              <a:spLocks/>
            </p:cNvSpPr>
            <p:nvPr userDrawn="1"/>
          </p:nvSpPr>
          <p:spPr bwMode="auto">
            <a:xfrm>
              <a:off x="8871919" y="2264229"/>
              <a:ext cx="316764" cy="316764"/>
            </a:xfrm>
            <a:custGeom>
              <a:avLst/>
              <a:gdLst>
                <a:gd name="T0" fmla="*/ 0 w 167"/>
                <a:gd name="T1" fmla="*/ 114 h 166"/>
                <a:gd name="T2" fmla="*/ 167 w 167"/>
                <a:gd name="T3" fmla="*/ 52 h 166"/>
                <a:gd name="T4" fmla="*/ 0 w 167"/>
                <a:gd name="T5" fmla="*/ 11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7" h="166">
                  <a:moveTo>
                    <a:pt x="0" y="114"/>
                  </a:moveTo>
                  <a:cubicBezTo>
                    <a:pt x="0" y="114"/>
                    <a:pt x="53" y="0"/>
                    <a:pt x="167" y="52"/>
                  </a:cubicBezTo>
                  <a:cubicBezTo>
                    <a:pt x="167" y="52"/>
                    <a:pt x="115" y="166"/>
                    <a:pt x="0" y="114"/>
                  </a:cubicBezTo>
                  <a:close/>
                </a:path>
              </a:pathLst>
            </a:custGeom>
            <a:solidFill>
              <a:srgbClr val="FCD1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37" name="Freeform 33"/>
            <p:cNvSpPr>
              <a:spLocks/>
            </p:cNvSpPr>
            <p:nvPr userDrawn="1"/>
          </p:nvSpPr>
          <p:spPr bwMode="auto">
            <a:xfrm>
              <a:off x="8806942" y="2284536"/>
              <a:ext cx="272093" cy="272093"/>
            </a:xfrm>
            <a:custGeom>
              <a:avLst/>
              <a:gdLst>
                <a:gd name="T0" fmla="*/ 17 w 142"/>
                <a:gd name="T1" fmla="*/ 142 h 142"/>
                <a:gd name="T2" fmla="*/ 124 w 142"/>
                <a:gd name="T3" fmla="*/ 0 h 142"/>
                <a:gd name="T4" fmla="*/ 17 w 142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2" h="142">
                  <a:moveTo>
                    <a:pt x="17" y="142"/>
                  </a:moveTo>
                  <a:cubicBezTo>
                    <a:pt x="17" y="142"/>
                    <a:pt x="0" y="18"/>
                    <a:pt x="124" y="0"/>
                  </a:cubicBezTo>
                  <a:cubicBezTo>
                    <a:pt x="124" y="0"/>
                    <a:pt x="142" y="124"/>
                    <a:pt x="17" y="142"/>
                  </a:cubicBezTo>
                  <a:close/>
                </a:path>
              </a:pathLst>
            </a:custGeom>
            <a:solidFill>
              <a:srgbClr val="FCD1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38" name="Freeform 34"/>
            <p:cNvSpPr>
              <a:spLocks/>
            </p:cNvSpPr>
            <p:nvPr userDrawn="1"/>
          </p:nvSpPr>
          <p:spPr bwMode="auto">
            <a:xfrm>
              <a:off x="8685109" y="2414490"/>
              <a:ext cx="341130" cy="337070"/>
            </a:xfrm>
            <a:custGeom>
              <a:avLst/>
              <a:gdLst>
                <a:gd name="T0" fmla="*/ 104 w 179"/>
                <a:gd name="T1" fmla="*/ 176 h 176"/>
                <a:gd name="T2" fmla="*/ 79 w 179"/>
                <a:gd name="T3" fmla="*/ 0 h 176"/>
                <a:gd name="T4" fmla="*/ 104 w 179"/>
                <a:gd name="T5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9" h="176">
                  <a:moveTo>
                    <a:pt x="104" y="176"/>
                  </a:moveTo>
                  <a:cubicBezTo>
                    <a:pt x="97" y="171"/>
                    <a:pt x="0" y="106"/>
                    <a:pt x="79" y="0"/>
                  </a:cubicBezTo>
                  <a:cubicBezTo>
                    <a:pt x="79" y="0"/>
                    <a:pt x="179" y="75"/>
                    <a:pt x="104" y="176"/>
                  </a:cubicBezTo>
                  <a:close/>
                </a:path>
              </a:pathLst>
            </a:custGeom>
            <a:solidFill>
              <a:srgbClr val="FCD1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39" name="Freeform 35"/>
            <p:cNvSpPr>
              <a:spLocks/>
            </p:cNvSpPr>
            <p:nvPr userDrawn="1"/>
          </p:nvSpPr>
          <p:spPr bwMode="auto">
            <a:xfrm>
              <a:off x="8859737" y="2475405"/>
              <a:ext cx="158383" cy="231482"/>
            </a:xfrm>
            <a:custGeom>
              <a:avLst/>
              <a:gdLst>
                <a:gd name="T0" fmla="*/ 39 w 39"/>
                <a:gd name="T1" fmla="*/ 54 h 57"/>
                <a:gd name="T2" fmla="*/ 6 w 39"/>
                <a:gd name="T3" fmla="*/ 57 h 57"/>
                <a:gd name="T4" fmla="*/ 0 w 39"/>
                <a:gd name="T5" fmla="*/ 3 h 57"/>
                <a:gd name="T6" fmla="*/ 33 w 39"/>
                <a:gd name="T7" fmla="*/ 0 h 57"/>
                <a:gd name="T8" fmla="*/ 39 w 39"/>
                <a:gd name="T9" fmla="*/ 5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57">
                  <a:moveTo>
                    <a:pt x="39" y="54"/>
                  </a:moveTo>
                  <a:lnTo>
                    <a:pt x="6" y="57"/>
                  </a:lnTo>
                  <a:lnTo>
                    <a:pt x="0" y="3"/>
                  </a:lnTo>
                  <a:lnTo>
                    <a:pt x="33" y="0"/>
                  </a:lnTo>
                  <a:lnTo>
                    <a:pt x="39" y="54"/>
                  </a:lnTo>
                  <a:close/>
                </a:path>
              </a:pathLst>
            </a:custGeom>
            <a:solidFill>
              <a:srgbClr val="FCD1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40" name="Freeform 36"/>
            <p:cNvSpPr>
              <a:spLocks/>
            </p:cNvSpPr>
            <p:nvPr userDrawn="1"/>
          </p:nvSpPr>
          <p:spPr bwMode="auto">
            <a:xfrm>
              <a:off x="8875981" y="2410428"/>
              <a:ext cx="300519" cy="515757"/>
            </a:xfrm>
            <a:custGeom>
              <a:avLst/>
              <a:gdLst>
                <a:gd name="T0" fmla="*/ 116 w 157"/>
                <a:gd name="T1" fmla="*/ 0 h 269"/>
                <a:gd name="T2" fmla="*/ 69 w 157"/>
                <a:gd name="T3" fmla="*/ 27 h 269"/>
                <a:gd name="T4" fmla="*/ 52 w 157"/>
                <a:gd name="T5" fmla="*/ 25 h 269"/>
                <a:gd name="T6" fmla="*/ 63 w 157"/>
                <a:gd name="T7" fmla="*/ 92 h 269"/>
                <a:gd name="T8" fmla="*/ 63 w 157"/>
                <a:gd name="T9" fmla="*/ 98 h 269"/>
                <a:gd name="T10" fmla="*/ 59 w 157"/>
                <a:gd name="T11" fmla="*/ 117 h 269"/>
                <a:gd name="T12" fmla="*/ 46 w 157"/>
                <a:gd name="T13" fmla="*/ 118 h 269"/>
                <a:gd name="T14" fmla="*/ 46 w 157"/>
                <a:gd name="T15" fmla="*/ 107 h 269"/>
                <a:gd name="T16" fmla="*/ 31 w 157"/>
                <a:gd name="T17" fmla="*/ 92 h 269"/>
                <a:gd name="T18" fmla="*/ 16 w 157"/>
                <a:gd name="T19" fmla="*/ 107 h 269"/>
                <a:gd name="T20" fmla="*/ 16 w 157"/>
                <a:gd name="T21" fmla="*/ 127 h 269"/>
                <a:gd name="T22" fmla="*/ 16 w 157"/>
                <a:gd name="T23" fmla="*/ 156 h 269"/>
                <a:gd name="T24" fmla="*/ 0 w 157"/>
                <a:gd name="T25" fmla="*/ 169 h 269"/>
                <a:gd name="T26" fmla="*/ 0 w 157"/>
                <a:gd name="T27" fmla="*/ 269 h 269"/>
                <a:gd name="T28" fmla="*/ 77 w 157"/>
                <a:gd name="T29" fmla="*/ 269 h 269"/>
                <a:gd name="T30" fmla="*/ 77 w 157"/>
                <a:gd name="T31" fmla="*/ 229 h 269"/>
                <a:gd name="T32" fmla="*/ 114 w 157"/>
                <a:gd name="T33" fmla="*/ 234 h 269"/>
                <a:gd name="T34" fmla="*/ 135 w 157"/>
                <a:gd name="T35" fmla="*/ 232 h 269"/>
                <a:gd name="T36" fmla="*/ 135 w 157"/>
                <a:gd name="T37" fmla="*/ 157 h 269"/>
                <a:gd name="T38" fmla="*/ 157 w 157"/>
                <a:gd name="T39" fmla="*/ 157 h 269"/>
                <a:gd name="T40" fmla="*/ 116 w 157"/>
                <a:gd name="T41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7" h="269">
                  <a:moveTo>
                    <a:pt x="116" y="0"/>
                  </a:moveTo>
                  <a:cubicBezTo>
                    <a:pt x="109" y="16"/>
                    <a:pt x="90" y="27"/>
                    <a:pt x="69" y="27"/>
                  </a:cubicBezTo>
                  <a:cubicBezTo>
                    <a:pt x="63" y="27"/>
                    <a:pt x="57" y="26"/>
                    <a:pt x="52" y="25"/>
                  </a:cubicBezTo>
                  <a:cubicBezTo>
                    <a:pt x="59" y="44"/>
                    <a:pt x="63" y="67"/>
                    <a:pt x="63" y="92"/>
                  </a:cubicBezTo>
                  <a:cubicBezTo>
                    <a:pt x="63" y="94"/>
                    <a:pt x="63" y="96"/>
                    <a:pt x="63" y="98"/>
                  </a:cubicBezTo>
                  <a:cubicBezTo>
                    <a:pt x="60" y="109"/>
                    <a:pt x="59" y="117"/>
                    <a:pt x="59" y="117"/>
                  </a:cubicBezTo>
                  <a:cubicBezTo>
                    <a:pt x="55" y="117"/>
                    <a:pt x="50" y="118"/>
                    <a:pt x="46" y="118"/>
                  </a:cubicBezTo>
                  <a:cubicBezTo>
                    <a:pt x="46" y="114"/>
                    <a:pt x="46" y="109"/>
                    <a:pt x="46" y="107"/>
                  </a:cubicBezTo>
                  <a:cubicBezTo>
                    <a:pt x="46" y="99"/>
                    <a:pt x="39" y="92"/>
                    <a:pt x="31" y="92"/>
                  </a:cubicBezTo>
                  <a:cubicBezTo>
                    <a:pt x="22" y="92"/>
                    <a:pt x="16" y="99"/>
                    <a:pt x="16" y="107"/>
                  </a:cubicBezTo>
                  <a:cubicBezTo>
                    <a:pt x="16" y="111"/>
                    <a:pt x="16" y="123"/>
                    <a:pt x="16" y="127"/>
                  </a:cubicBezTo>
                  <a:cubicBezTo>
                    <a:pt x="16" y="156"/>
                    <a:pt x="16" y="156"/>
                    <a:pt x="16" y="156"/>
                  </a:cubicBezTo>
                  <a:cubicBezTo>
                    <a:pt x="6" y="162"/>
                    <a:pt x="0" y="169"/>
                    <a:pt x="0" y="169"/>
                  </a:cubicBezTo>
                  <a:cubicBezTo>
                    <a:pt x="0" y="269"/>
                    <a:pt x="0" y="269"/>
                    <a:pt x="0" y="269"/>
                  </a:cubicBezTo>
                  <a:cubicBezTo>
                    <a:pt x="77" y="269"/>
                    <a:pt x="77" y="269"/>
                    <a:pt x="77" y="269"/>
                  </a:cubicBezTo>
                  <a:cubicBezTo>
                    <a:pt x="77" y="229"/>
                    <a:pt x="77" y="229"/>
                    <a:pt x="77" y="229"/>
                  </a:cubicBezTo>
                  <a:cubicBezTo>
                    <a:pt x="89" y="232"/>
                    <a:pt x="101" y="234"/>
                    <a:pt x="114" y="234"/>
                  </a:cubicBezTo>
                  <a:cubicBezTo>
                    <a:pt x="121" y="234"/>
                    <a:pt x="128" y="234"/>
                    <a:pt x="135" y="232"/>
                  </a:cubicBezTo>
                  <a:cubicBezTo>
                    <a:pt x="135" y="157"/>
                    <a:pt x="135" y="157"/>
                    <a:pt x="135" y="157"/>
                  </a:cubicBezTo>
                  <a:cubicBezTo>
                    <a:pt x="157" y="157"/>
                    <a:pt x="157" y="157"/>
                    <a:pt x="157" y="157"/>
                  </a:cubicBezTo>
                  <a:lnTo>
                    <a:pt x="116" y="0"/>
                  </a:lnTo>
                  <a:close/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41" name="Freeform 37"/>
            <p:cNvSpPr>
              <a:spLocks/>
            </p:cNvSpPr>
            <p:nvPr userDrawn="1"/>
          </p:nvSpPr>
          <p:spPr bwMode="auto">
            <a:xfrm>
              <a:off x="9671951" y="2966796"/>
              <a:ext cx="816277" cy="523880"/>
            </a:xfrm>
            <a:custGeom>
              <a:avLst/>
              <a:gdLst>
                <a:gd name="T0" fmla="*/ 0 w 427"/>
                <a:gd name="T1" fmla="*/ 274 h 274"/>
                <a:gd name="T2" fmla="*/ 0 w 427"/>
                <a:gd name="T3" fmla="*/ 186 h 274"/>
                <a:gd name="T4" fmla="*/ 289 w 427"/>
                <a:gd name="T5" fmla="*/ 68 h 274"/>
                <a:gd name="T6" fmla="*/ 427 w 427"/>
                <a:gd name="T7" fmla="*/ 0 h 274"/>
                <a:gd name="T8" fmla="*/ 427 w 427"/>
                <a:gd name="T9" fmla="*/ 88 h 274"/>
                <a:gd name="T10" fmla="*/ 343 w 427"/>
                <a:gd name="T11" fmla="*/ 138 h 274"/>
                <a:gd name="T12" fmla="*/ 0 w 427"/>
                <a:gd name="T13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7" h="274">
                  <a:moveTo>
                    <a:pt x="0" y="274"/>
                  </a:moveTo>
                  <a:cubicBezTo>
                    <a:pt x="0" y="186"/>
                    <a:pt x="0" y="186"/>
                    <a:pt x="0" y="186"/>
                  </a:cubicBezTo>
                  <a:cubicBezTo>
                    <a:pt x="135" y="186"/>
                    <a:pt x="221" y="121"/>
                    <a:pt x="289" y="68"/>
                  </a:cubicBezTo>
                  <a:cubicBezTo>
                    <a:pt x="337" y="31"/>
                    <a:pt x="379" y="0"/>
                    <a:pt x="427" y="0"/>
                  </a:cubicBezTo>
                  <a:cubicBezTo>
                    <a:pt x="427" y="88"/>
                    <a:pt x="427" y="88"/>
                    <a:pt x="427" y="88"/>
                  </a:cubicBezTo>
                  <a:cubicBezTo>
                    <a:pt x="409" y="88"/>
                    <a:pt x="377" y="112"/>
                    <a:pt x="343" y="138"/>
                  </a:cubicBezTo>
                  <a:cubicBezTo>
                    <a:pt x="268" y="195"/>
                    <a:pt x="165" y="274"/>
                    <a:pt x="0" y="274"/>
                  </a:cubicBezTo>
                  <a:close/>
                </a:path>
              </a:pathLst>
            </a:custGeom>
            <a:solidFill>
              <a:srgbClr val="00B2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42" name="Freeform 38"/>
            <p:cNvSpPr>
              <a:spLocks/>
            </p:cNvSpPr>
            <p:nvPr userDrawn="1"/>
          </p:nvSpPr>
          <p:spPr bwMode="auto">
            <a:xfrm>
              <a:off x="9671951" y="3084565"/>
              <a:ext cx="816277" cy="406107"/>
            </a:xfrm>
            <a:custGeom>
              <a:avLst/>
              <a:gdLst>
                <a:gd name="T0" fmla="*/ 427 w 427"/>
                <a:gd name="T1" fmla="*/ 28 h 214"/>
                <a:gd name="T2" fmla="*/ 427 w 427"/>
                <a:gd name="T3" fmla="*/ 0 h 214"/>
                <a:gd name="T4" fmla="*/ 323 w 427"/>
                <a:gd name="T5" fmla="*/ 66 h 214"/>
                <a:gd name="T6" fmla="*/ 0 w 427"/>
                <a:gd name="T7" fmla="*/ 198 h 214"/>
                <a:gd name="T8" fmla="*/ 0 w 427"/>
                <a:gd name="T9" fmla="*/ 214 h 214"/>
                <a:gd name="T10" fmla="*/ 343 w 427"/>
                <a:gd name="T11" fmla="*/ 78 h 214"/>
                <a:gd name="T12" fmla="*/ 427 w 427"/>
                <a:gd name="T13" fmla="*/ 2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7" h="214">
                  <a:moveTo>
                    <a:pt x="427" y="28"/>
                  </a:moveTo>
                  <a:cubicBezTo>
                    <a:pt x="427" y="0"/>
                    <a:pt x="427" y="0"/>
                    <a:pt x="427" y="0"/>
                  </a:cubicBezTo>
                  <a:cubicBezTo>
                    <a:pt x="393" y="13"/>
                    <a:pt x="360" y="38"/>
                    <a:pt x="323" y="66"/>
                  </a:cubicBezTo>
                  <a:cubicBezTo>
                    <a:pt x="246" y="125"/>
                    <a:pt x="151" y="198"/>
                    <a:pt x="0" y="198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165" y="214"/>
                    <a:pt x="268" y="135"/>
                    <a:pt x="343" y="78"/>
                  </a:cubicBezTo>
                  <a:cubicBezTo>
                    <a:pt x="377" y="52"/>
                    <a:pt x="409" y="28"/>
                    <a:pt x="427" y="28"/>
                  </a:cubicBez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43" name="Freeform 39"/>
            <p:cNvSpPr>
              <a:spLocks noEditPoints="1"/>
            </p:cNvSpPr>
            <p:nvPr userDrawn="1"/>
          </p:nvSpPr>
          <p:spPr bwMode="auto">
            <a:xfrm>
              <a:off x="10191768" y="2914000"/>
              <a:ext cx="848765" cy="2440705"/>
            </a:xfrm>
            <a:custGeom>
              <a:avLst/>
              <a:gdLst>
                <a:gd name="T0" fmla="*/ 194 w 209"/>
                <a:gd name="T1" fmla="*/ 555 h 601"/>
                <a:gd name="T2" fmla="*/ 185 w 209"/>
                <a:gd name="T3" fmla="*/ 275 h 601"/>
                <a:gd name="T4" fmla="*/ 209 w 209"/>
                <a:gd name="T5" fmla="*/ 275 h 601"/>
                <a:gd name="T6" fmla="*/ 176 w 209"/>
                <a:gd name="T7" fmla="*/ 148 h 601"/>
                <a:gd name="T8" fmla="*/ 189 w 209"/>
                <a:gd name="T9" fmla="*/ 8 h 601"/>
                <a:gd name="T10" fmla="*/ 148 w 209"/>
                <a:gd name="T11" fmla="*/ 0 h 601"/>
                <a:gd name="T12" fmla="*/ 103 w 209"/>
                <a:gd name="T13" fmla="*/ 0 h 601"/>
                <a:gd name="T14" fmla="*/ 67 w 209"/>
                <a:gd name="T15" fmla="*/ 9 h 601"/>
                <a:gd name="T16" fmla="*/ 53 w 209"/>
                <a:gd name="T17" fmla="*/ 17 h 601"/>
                <a:gd name="T18" fmla="*/ 59 w 209"/>
                <a:gd name="T19" fmla="*/ 54 h 601"/>
                <a:gd name="T20" fmla="*/ 79 w 209"/>
                <a:gd name="T21" fmla="*/ 152 h 601"/>
                <a:gd name="T22" fmla="*/ 48 w 209"/>
                <a:gd name="T23" fmla="*/ 275 h 601"/>
                <a:gd name="T24" fmla="*/ 68 w 209"/>
                <a:gd name="T25" fmla="*/ 278 h 601"/>
                <a:gd name="T26" fmla="*/ 57 w 209"/>
                <a:gd name="T27" fmla="*/ 565 h 601"/>
                <a:gd name="T28" fmla="*/ 0 w 209"/>
                <a:gd name="T29" fmla="*/ 576 h 601"/>
                <a:gd name="T30" fmla="*/ 0 w 209"/>
                <a:gd name="T31" fmla="*/ 601 h 601"/>
                <a:gd name="T32" fmla="*/ 60 w 209"/>
                <a:gd name="T33" fmla="*/ 601 h 601"/>
                <a:gd name="T34" fmla="*/ 67 w 209"/>
                <a:gd name="T35" fmla="*/ 593 h 601"/>
                <a:gd name="T36" fmla="*/ 81 w 209"/>
                <a:gd name="T37" fmla="*/ 593 h 601"/>
                <a:gd name="T38" fmla="*/ 81 w 209"/>
                <a:gd name="T39" fmla="*/ 601 h 601"/>
                <a:gd name="T40" fmla="*/ 92 w 209"/>
                <a:gd name="T41" fmla="*/ 601 h 601"/>
                <a:gd name="T42" fmla="*/ 102 w 209"/>
                <a:gd name="T43" fmla="*/ 601 h 601"/>
                <a:gd name="T44" fmla="*/ 153 w 209"/>
                <a:gd name="T45" fmla="*/ 601 h 601"/>
                <a:gd name="T46" fmla="*/ 160 w 209"/>
                <a:gd name="T47" fmla="*/ 593 h 601"/>
                <a:gd name="T48" fmla="*/ 174 w 209"/>
                <a:gd name="T49" fmla="*/ 593 h 601"/>
                <a:gd name="T50" fmla="*/ 174 w 209"/>
                <a:gd name="T51" fmla="*/ 601 h 601"/>
                <a:gd name="T52" fmla="*/ 194 w 209"/>
                <a:gd name="T53" fmla="*/ 601 h 601"/>
                <a:gd name="T54" fmla="*/ 194 w 209"/>
                <a:gd name="T55" fmla="*/ 576 h 601"/>
                <a:gd name="T56" fmla="*/ 194 w 209"/>
                <a:gd name="T57" fmla="*/ 556 h 601"/>
                <a:gd name="T58" fmla="*/ 195 w 209"/>
                <a:gd name="T59" fmla="*/ 555 h 601"/>
                <a:gd name="T60" fmla="*/ 194 w 209"/>
                <a:gd name="T61" fmla="*/ 555 h 601"/>
                <a:gd name="T62" fmla="*/ 102 w 209"/>
                <a:gd name="T63" fmla="*/ 575 h 601"/>
                <a:gd name="T64" fmla="*/ 102 w 209"/>
                <a:gd name="T65" fmla="*/ 556 h 601"/>
                <a:gd name="T66" fmla="*/ 103 w 209"/>
                <a:gd name="T67" fmla="*/ 555 h 601"/>
                <a:gd name="T68" fmla="*/ 102 w 209"/>
                <a:gd name="T69" fmla="*/ 555 h 601"/>
                <a:gd name="T70" fmla="*/ 125 w 209"/>
                <a:gd name="T71" fmla="*/ 294 h 601"/>
                <a:gd name="T72" fmla="*/ 132 w 209"/>
                <a:gd name="T73" fmla="*/ 294 h 601"/>
                <a:gd name="T74" fmla="*/ 149 w 209"/>
                <a:gd name="T75" fmla="*/ 565 h 601"/>
                <a:gd name="T76" fmla="*/ 102 w 209"/>
                <a:gd name="T77" fmla="*/ 575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9" h="601">
                  <a:moveTo>
                    <a:pt x="194" y="555"/>
                  </a:moveTo>
                  <a:lnTo>
                    <a:pt x="185" y="275"/>
                  </a:lnTo>
                  <a:lnTo>
                    <a:pt x="209" y="275"/>
                  </a:lnTo>
                  <a:lnTo>
                    <a:pt x="176" y="148"/>
                  </a:lnTo>
                  <a:lnTo>
                    <a:pt x="189" y="8"/>
                  </a:lnTo>
                  <a:lnTo>
                    <a:pt x="148" y="0"/>
                  </a:lnTo>
                  <a:lnTo>
                    <a:pt x="103" y="0"/>
                  </a:lnTo>
                  <a:lnTo>
                    <a:pt x="67" y="9"/>
                  </a:lnTo>
                  <a:lnTo>
                    <a:pt x="53" y="17"/>
                  </a:lnTo>
                  <a:lnTo>
                    <a:pt x="59" y="54"/>
                  </a:lnTo>
                  <a:lnTo>
                    <a:pt x="79" y="152"/>
                  </a:lnTo>
                  <a:lnTo>
                    <a:pt x="48" y="275"/>
                  </a:lnTo>
                  <a:lnTo>
                    <a:pt x="68" y="278"/>
                  </a:lnTo>
                  <a:lnTo>
                    <a:pt x="57" y="565"/>
                  </a:lnTo>
                  <a:lnTo>
                    <a:pt x="0" y="576"/>
                  </a:lnTo>
                  <a:lnTo>
                    <a:pt x="0" y="601"/>
                  </a:lnTo>
                  <a:lnTo>
                    <a:pt x="60" y="601"/>
                  </a:lnTo>
                  <a:lnTo>
                    <a:pt x="67" y="593"/>
                  </a:lnTo>
                  <a:lnTo>
                    <a:pt x="81" y="593"/>
                  </a:lnTo>
                  <a:lnTo>
                    <a:pt x="81" y="601"/>
                  </a:lnTo>
                  <a:lnTo>
                    <a:pt x="92" y="601"/>
                  </a:lnTo>
                  <a:lnTo>
                    <a:pt x="102" y="601"/>
                  </a:lnTo>
                  <a:lnTo>
                    <a:pt x="153" y="601"/>
                  </a:lnTo>
                  <a:lnTo>
                    <a:pt x="160" y="593"/>
                  </a:lnTo>
                  <a:lnTo>
                    <a:pt x="174" y="593"/>
                  </a:lnTo>
                  <a:lnTo>
                    <a:pt x="174" y="601"/>
                  </a:lnTo>
                  <a:lnTo>
                    <a:pt x="194" y="601"/>
                  </a:lnTo>
                  <a:lnTo>
                    <a:pt x="194" y="576"/>
                  </a:lnTo>
                  <a:lnTo>
                    <a:pt x="194" y="556"/>
                  </a:lnTo>
                  <a:lnTo>
                    <a:pt x="195" y="555"/>
                  </a:lnTo>
                  <a:lnTo>
                    <a:pt x="194" y="555"/>
                  </a:lnTo>
                  <a:close/>
                  <a:moveTo>
                    <a:pt x="102" y="575"/>
                  </a:moveTo>
                  <a:lnTo>
                    <a:pt x="102" y="556"/>
                  </a:lnTo>
                  <a:lnTo>
                    <a:pt x="103" y="555"/>
                  </a:lnTo>
                  <a:lnTo>
                    <a:pt x="102" y="555"/>
                  </a:lnTo>
                  <a:lnTo>
                    <a:pt x="125" y="294"/>
                  </a:lnTo>
                  <a:lnTo>
                    <a:pt x="132" y="294"/>
                  </a:lnTo>
                  <a:lnTo>
                    <a:pt x="149" y="565"/>
                  </a:lnTo>
                  <a:lnTo>
                    <a:pt x="102" y="575"/>
                  </a:lnTo>
                  <a:close/>
                </a:path>
              </a:pathLst>
            </a:custGeom>
            <a:solidFill>
              <a:srgbClr val="00B2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44" name="Freeform 40"/>
            <p:cNvSpPr>
              <a:spLocks noEditPoints="1"/>
            </p:cNvSpPr>
            <p:nvPr userDrawn="1"/>
          </p:nvSpPr>
          <p:spPr bwMode="auto">
            <a:xfrm>
              <a:off x="10191768" y="2914000"/>
              <a:ext cx="848765" cy="2440705"/>
            </a:xfrm>
            <a:custGeom>
              <a:avLst/>
              <a:gdLst>
                <a:gd name="T0" fmla="*/ 194 w 209"/>
                <a:gd name="T1" fmla="*/ 555 h 601"/>
                <a:gd name="T2" fmla="*/ 185 w 209"/>
                <a:gd name="T3" fmla="*/ 275 h 601"/>
                <a:gd name="T4" fmla="*/ 209 w 209"/>
                <a:gd name="T5" fmla="*/ 275 h 601"/>
                <a:gd name="T6" fmla="*/ 176 w 209"/>
                <a:gd name="T7" fmla="*/ 148 h 601"/>
                <a:gd name="T8" fmla="*/ 189 w 209"/>
                <a:gd name="T9" fmla="*/ 8 h 601"/>
                <a:gd name="T10" fmla="*/ 148 w 209"/>
                <a:gd name="T11" fmla="*/ 0 h 601"/>
                <a:gd name="T12" fmla="*/ 103 w 209"/>
                <a:gd name="T13" fmla="*/ 0 h 601"/>
                <a:gd name="T14" fmla="*/ 67 w 209"/>
                <a:gd name="T15" fmla="*/ 9 h 601"/>
                <a:gd name="T16" fmla="*/ 53 w 209"/>
                <a:gd name="T17" fmla="*/ 17 h 601"/>
                <a:gd name="T18" fmla="*/ 59 w 209"/>
                <a:gd name="T19" fmla="*/ 54 h 601"/>
                <a:gd name="T20" fmla="*/ 79 w 209"/>
                <a:gd name="T21" fmla="*/ 152 h 601"/>
                <a:gd name="T22" fmla="*/ 48 w 209"/>
                <a:gd name="T23" fmla="*/ 275 h 601"/>
                <a:gd name="T24" fmla="*/ 68 w 209"/>
                <a:gd name="T25" fmla="*/ 278 h 601"/>
                <a:gd name="T26" fmla="*/ 57 w 209"/>
                <a:gd name="T27" fmla="*/ 565 h 601"/>
                <a:gd name="T28" fmla="*/ 0 w 209"/>
                <a:gd name="T29" fmla="*/ 576 h 601"/>
                <a:gd name="T30" fmla="*/ 0 w 209"/>
                <a:gd name="T31" fmla="*/ 601 h 601"/>
                <a:gd name="T32" fmla="*/ 60 w 209"/>
                <a:gd name="T33" fmla="*/ 601 h 601"/>
                <a:gd name="T34" fmla="*/ 67 w 209"/>
                <a:gd name="T35" fmla="*/ 593 h 601"/>
                <a:gd name="T36" fmla="*/ 81 w 209"/>
                <a:gd name="T37" fmla="*/ 593 h 601"/>
                <a:gd name="T38" fmla="*/ 81 w 209"/>
                <a:gd name="T39" fmla="*/ 601 h 601"/>
                <a:gd name="T40" fmla="*/ 92 w 209"/>
                <a:gd name="T41" fmla="*/ 601 h 601"/>
                <a:gd name="T42" fmla="*/ 102 w 209"/>
                <a:gd name="T43" fmla="*/ 601 h 601"/>
                <a:gd name="T44" fmla="*/ 153 w 209"/>
                <a:gd name="T45" fmla="*/ 601 h 601"/>
                <a:gd name="T46" fmla="*/ 160 w 209"/>
                <a:gd name="T47" fmla="*/ 593 h 601"/>
                <a:gd name="T48" fmla="*/ 174 w 209"/>
                <a:gd name="T49" fmla="*/ 593 h 601"/>
                <a:gd name="T50" fmla="*/ 174 w 209"/>
                <a:gd name="T51" fmla="*/ 601 h 601"/>
                <a:gd name="T52" fmla="*/ 194 w 209"/>
                <a:gd name="T53" fmla="*/ 601 h 601"/>
                <a:gd name="T54" fmla="*/ 194 w 209"/>
                <a:gd name="T55" fmla="*/ 576 h 601"/>
                <a:gd name="T56" fmla="*/ 194 w 209"/>
                <a:gd name="T57" fmla="*/ 556 h 601"/>
                <a:gd name="T58" fmla="*/ 195 w 209"/>
                <a:gd name="T59" fmla="*/ 555 h 601"/>
                <a:gd name="T60" fmla="*/ 194 w 209"/>
                <a:gd name="T61" fmla="*/ 555 h 601"/>
                <a:gd name="T62" fmla="*/ 102 w 209"/>
                <a:gd name="T63" fmla="*/ 575 h 601"/>
                <a:gd name="T64" fmla="*/ 102 w 209"/>
                <a:gd name="T65" fmla="*/ 556 h 601"/>
                <a:gd name="T66" fmla="*/ 103 w 209"/>
                <a:gd name="T67" fmla="*/ 555 h 601"/>
                <a:gd name="T68" fmla="*/ 102 w 209"/>
                <a:gd name="T69" fmla="*/ 555 h 601"/>
                <a:gd name="T70" fmla="*/ 125 w 209"/>
                <a:gd name="T71" fmla="*/ 294 h 601"/>
                <a:gd name="T72" fmla="*/ 132 w 209"/>
                <a:gd name="T73" fmla="*/ 294 h 601"/>
                <a:gd name="T74" fmla="*/ 149 w 209"/>
                <a:gd name="T75" fmla="*/ 565 h 601"/>
                <a:gd name="T76" fmla="*/ 102 w 209"/>
                <a:gd name="T77" fmla="*/ 575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9" h="601">
                  <a:moveTo>
                    <a:pt x="194" y="555"/>
                  </a:moveTo>
                  <a:lnTo>
                    <a:pt x="185" y="275"/>
                  </a:lnTo>
                  <a:lnTo>
                    <a:pt x="209" y="275"/>
                  </a:lnTo>
                  <a:lnTo>
                    <a:pt x="176" y="148"/>
                  </a:lnTo>
                  <a:lnTo>
                    <a:pt x="189" y="8"/>
                  </a:lnTo>
                  <a:lnTo>
                    <a:pt x="148" y="0"/>
                  </a:lnTo>
                  <a:lnTo>
                    <a:pt x="103" y="0"/>
                  </a:lnTo>
                  <a:lnTo>
                    <a:pt x="67" y="9"/>
                  </a:lnTo>
                  <a:lnTo>
                    <a:pt x="53" y="17"/>
                  </a:lnTo>
                  <a:lnTo>
                    <a:pt x="59" y="54"/>
                  </a:lnTo>
                  <a:lnTo>
                    <a:pt x="79" y="152"/>
                  </a:lnTo>
                  <a:lnTo>
                    <a:pt x="48" y="275"/>
                  </a:lnTo>
                  <a:lnTo>
                    <a:pt x="68" y="278"/>
                  </a:lnTo>
                  <a:lnTo>
                    <a:pt x="57" y="565"/>
                  </a:lnTo>
                  <a:lnTo>
                    <a:pt x="0" y="576"/>
                  </a:lnTo>
                  <a:lnTo>
                    <a:pt x="0" y="601"/>
                  </a:lnTo>
                  <a:lnTo>
                    <a:pt x="60" y="601"/>
                  </a:lnTo>
                  <a:lnTo>
                    <a:pt x="67" y="593"/>
                  </a:lnTo>
                  <a:lnTo>
                    <a:pt x="81" y="593"/>
                  </a:lnTo>
                  <a:lnTo>
                    <a:pt x="81" y="601"/>
                  </a:lnTo>
                  <a:lnTo>
                    <a:pt x="92" y="601"/>
                  </a:lnTo>
                  <a:lnTo>
                    <a:pt x="102" y="601"/>
                  </a:lnTo>
                  <a:lnTo>
                    <a:pt x="153" y="601"/>
                  </a:lnTo>
                  <a:lnTo>
                    <a:pt x="160" y="593"/>
                  </a:lnTo>
                  <a:lnTo>
                    <a:pt x="174" y="593"/>
                  </a:lnTo>
                  <a:lnTo>
                    <a:pt x="174" y="601"/>
                  </a:lnTo>
                  <a:lnTo>
                    <a:pt x="194" y="601"/>
                  </a:lnTo>
                  <a:lnTo>
                    <a:pt x="194" y="576"/>
                  </a:lnTo>
                  <a:lnTo>
                    <a:pt x="194" y="556"/>
                  </a:lnTo>
                  <a:lnTo>
                    <a:pt x="195" y="555"/>
                  </a:lnTo>
                  <a:lnTo>
                    <a:pt x="194" y="555"/>
                  </a:lnTo>
                  <a:moveTo>
                    <a:pt x="102" y="575"/>
                  </a:moveTo>
                  <a:lnTo>
                    <a:pt x="102" y="556"/>
                  </a:lnTo>
                  <a:lnTo>
                    <a:pt x="103" y="555"/>
                  </a:lnTo>
                  <a:lnTo>
                    <a:pt x="102" y="555"/>
                  </a:lnTo>
                  <a:lnTo>
                    <a:pt x="125" y="294"/>
                  </a:lnTo>
                  <a:lnTo>
                    <a:pt x="132" y="294"/>
                  </a:lnTo>
                  <a:lnTo>
                    <a:pt x="149" y="565"/>
                  </a:lnTo>
                  <a:lnTo>
                    <a:pt x="102" y="57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45" name="Freeform 41"/>
            <p:cNvSpPr>
              <a:spLocks/>
            </p:cNvSpPr>
            <p:nvPr userDrawn="1"/>
          </p:nvSpPr>
          <p:spPr bwMode="auto">
            <a:xfrm>
              <a:off x="9148071" y="3502857"/>
              <a:ext cx="134017" cy="166505"/>
            </a:xfrm>
            <a:custGeom>
              <a:avLst/>
              <a:gdLst>
                <a:gd name="T0" fmla="*/ 33 w 33"/>
                <a:gd name="T1" fmla="*/ 27 h 41"/>
                <a:gd name="T2" fmla="*/ 0 w 33"/>
                <a:gd name="T3" fmla="*/ 41 h 41"/>
                <a:gd name="T4" fmla="*/ 10 w 33"/>
                <a:gd name="T5" fmla="*/ 3 h 41"/>
                <a:gd name="T6" fmla="*/ 33 w 33"/>
                <a:gd name="T7" fmla="*/ 0 h 41"/>
                <a:gd name="T8" fmla="*/ 33 w 33"/>
                <a:gd name="T9" fmla="*/ 2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1">
                  <a:moveTo>
                    <a:pt x="33" y="27"/>
                  </a:moveTo>
                  <a:lnTo>
                    <a:pt x="0" y="41"/>
                  </a:lnTo>
                  <a:lnTo>
                    <a:pt x="10" y="3"/>
                  </a:lnTo>
                  <a:lnTo>
                    <a:pt x="33" y="0"/>
                  </a:lnTo>
                  <a:lnTo>
                    <a:pt x="33" y="27"/>
                  </a:lnTo>
                  <a:close/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46" name="Freeform 42"/>
            <p:cNvSpPr>
              <a:spLocks/>
            </p:cNvSpPr>
            <p:nvPr userDrawn="1"/>
          </p:nvSpPr>
          <p:spPr bwMode="auto">
            <a:xfrm>
              <a:off x="10898394" y="3616567"/>
              <a:ext cx="186809" cy="190872"/>
            </a:xfrm>
            <a:custGeom>
              <a:avLst/>
              <a:gdLst>
                <a:gd name="T0" fmla="*/ 46 w 46"/>
                <a:gd name="T1" fmla="*/ 27 h 47"/>
                <a:gd name="T2" fmla="*/ 15 w 46"/>
                <a:gd name="T3" fmla="*/ 47 h 47"/>
                <a:gd name="T4" fmla="*/ 0 w 46"/>
                <a:gd name="T5" fmla="*/ 14 h 47"/>
                <a:gd name="T6" fmla="*/ 33 w 46"/>
                <a:gd name="T7" fmla="*/ 0 h 47"/>
                <a:gd name="T8" fmla="*/ 46 w 46"/>
                <a:gd name="T9" fmla="*/ 2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7">
                  <a:moveTo>
                    <a:pt x="46" y="27"/>
                  </a:moveTo>
                  <a:lnTo>
                    <a:pt x="15" y="47"/>
                  </a:lnTo>
                  <a:lnTo>
                    <a:pt x="0" y="14"/>
                  </a:lnTo>
                  <a:lnTo>
                    <a:pt x="33" y="0"/>
                  </a:lnTo>
                  <a:lnTo>
                    <a:pt x="46" y="27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47" name="Freeform 43"/>
            <p:cNvSpPr>
              <a:spLocks/>
            </p:cNvSpPr>
            <p:nvPr userDrawn="1"/>
          </p:nvSpPr>
          <p:spPr bwMode="auto">
            <a:xfrm>
              <a:off x="10488225" y="2434794"/>
              <a:ext cx="300519" cy="739115"/>
            </a:xfrm>
            <a:custGeom>
              <a:avLst/>
              <a:gdLst>
                <a:gd name="T0" fmla="*/ 157 w 157"/>
                <a:gd name="T1" fmla="*/ 99 h 387"/>
                <a:gd name="T2" fmla="*/ 32 w 157"/>
                <a:gd name="T3" fmla="*/ 0 h 387"/>
                <a:gd name="T4" fmla="*/ 0 w 157"/>
                <a:gd name="T5" fmla="*/ 127 h 387"/>
                <a:gd name="T6" fmla="*/ 22 w 157"/>
                <a:gd name="T7" fmla="*/ 127 h 387"/>
                <a:gd name="T8" fmla="*/ 36 w 157"/>
                <a:gd name="T9" fmla="*/ 195 h 387"/>
                <a:gd name="T10" fmla="*/ 36 w 157"/>
                <a:gd name="T11" fmla="*/ 197 h 387"/>
                <a:gd name="T12" fmla="*/ 73 w 157"/>
                <a:gd name="T13" fmla="*/ 192 h 387"/>
                <a:gd name="T14" fmla="*/ 68 w 157"/>
                <a:gd name="T15" fmla="*/ 251 h 387"/>
                <a:gd name="T16" fmla="*/ 100 w 157"/>
                <a:gd name="T17" fmla="*/ 387 h 387"/>
                <a:gd name="T18" fmla="*/ 145 w 157"/>
                <a:gd name="T19" fmla="*/ 251 h 387"/>
                <a:gd name="T20" fmla="*/ 145 w 157"/>
                <a:gd name="T21" fmla="*/ 151 h 387"/>
                <a:gd name="T22" fmla="*/ 157 w 157"/>
                <a:gd name="T23" fmla="*/ 9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387">
                  <a:moveTo>
                    <a:pt x="157" y="99"/>
                  </a:moveTo>
                  <a:cubicBezTo>
                    <a:pt x="157" y="29"/>
                    <a:pt x="101" y="0"/>
                    <a:pt x="32" y="0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22" y="127"/>
                    <a:pt x="22" y="127"/>
                    <a:pt x="22" y="127"/>
                  </a:cubicBezTo>
                  <a:cubicBezTo>
                    <a:pt x="36" y="195"/>
                    <a:pt x="36" y="195"/>
                    <a:pt x="36" y="195"/>
                  </a:cubicBezTo>
                  <a:cubicBezTo>
                    <a:pt x="43" y="197"/>
                    <a:pt x="29" y="197"/>
                    <a:pt x="36" y="197"/>
                  </a:cubicBezTo>
                  <a:cubicBezTo>
                    <a:pt x="49" y="197"/>
                    <a:pt x="61" y="195"/>
                    <a:pt x="73" y="192"/>
                  </a:cubicBezTo>
                  <a:cubicBezTo>
                    <a:pt x="68" y="251"/>
                    <a:pt x="68" y="251"/>
                    <a:pt x="68" y="251"/>
                  </a:cubicBezTo>
                  <a:cubicBezTo>
                    <a:pt x="100" y="387"/>
                    <a:pt x="100" y="387"/>
                    <a:pt x="100" y="387"/>
                  </a:cubicBezTo>
                  <a:cubicBezTo>
                    <a:pt x="145" y="251"/>
                    <a:pt x="145" y="251"/>
                    <a:pt x="145" y="2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53" y="135"/>
                    <a:pt x="157" y="118"/>
                    <a:pt x="157" y="99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48" name="Oval 44"/>
            <p:cNvSpPr>
              <a:spLocks noChangeArrowheads="1"/>
            </p:cNvSpPr>
            <p:nvPr userDrawn="1"/>
          </p:nvSpPr>
          <p:spPr bwMode="auto">
            <a:xfrm>
              <a:off x="10536958" y="2593177"/>
              <a:ext cx="20307" cy="20307"/>
            </a:xfrm>
            <a:prstGeom prst="ellipse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52" name="Freeform 48"/>
            <p:cNvSpPr>
              <a:spLocks/>
            </p:cNvSpPr>
            <p:nvPr userDrawn="1"/>
          </p:nvSpPr>
          <p:spPr bwMode="auto">
            <a:xfrm>
              <a:off x="10191768" y="5249118"/>
              <a:ext cx="787848" cy="105588"/>
            </a:xfrm>
            <a:custGeom>
              <a:avLst/>
              <a:gdLst>
                <a:gd name="T0" fmla="*/ 194 w 194"/>
                <a:gd name="T1" fmla="*/ 0 h 26"/>
                <a:gd name="T2" fmla="*/ 8 w 194"/>
                <a:gd name="T3" fmla="*/ 0 h 26"/>
                <a:gd name="T4" fmla="*/ 0 w 194"/>
                <a:gd name="T5" fmla="*/ 1 h 26"/>
                <a:gd name="T6" fmla="*/ 0 w 194"/>
                <a:gd name="T7" fmla="*/ 7 h 26"/>
                <a:gd name="T8" fmla="*/ 0 w 194"/>
                <a:gd name="T9" fmla="*/ 11 h 26"/>
                <a:gd name="T10" fmla="*/ 0 w 194"/>
                <a:gd name="T11" fmla="*/ 26 h 26"/>
                <a:gd name="T12" fmla="*/ 60 w 194"/>
                <a:gd name="T13" fmla="*/ 26 h 26"/>
                <a:gd name="T14" fmla="*/ 67 w 194"/>
                <a:gd name="T15" fmla="*/ 18 h 26"/>
                <a:gd name="T16" fmla="*/ 81 w 194"/>
                <a:gd name="T17" fmla="*/ 18 h 26"/>
                <a:gd name="T18" fmla="*/ 81 w 194"/>
                <a:gd name="T19" fmla="*/ 26 h 26"/>
                <a:gd name="T20" fmla="*/ 92 w 194"/>
                <a:gd name="T21" fmla="*/ 26 h 26"/>
                <a:gd name="T22" fmla="*/ 102 w 194"/>
                <a:gd name="T23" fmla="*/ 26 h 26"/>
                <a:gd name="T24" fmla="*/ 153 w 194"/>
                <a:gd name="T25" fmla="*/ 26 h 26"/>
                <a:gd name="T26" fmla="*/ 160 w 194"/>
                <a:gd name="T27" fmla="*/ 18 h 26"/>
                <a:gd name="T28" fmla="*/ 174 w 194"/>
                <a:gd name="T29" fmla="*/ 18 h 26"/>
                <a:gd name="T30" fmla="*/ 174 w 194"/>
                <a:gd name="T31" fmla="*/ 26 h 26"/>
                <a:gd name="T32" fmla="*/ 194 w 194"/>
                <a:gd name="T33" fmla="*/ 26 h 26"/>
                <a:gd name="T34" fmla="*/ 194 w 194"/>
                <a:gd name="T35" fmla="*/ 1 h 26"/>
                <a:gd name="T36" fmla="*/ 194 w 194"/>
                <a:gd name="T3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4" h="26">
                  <a:moveTo>
                    <a:pt x="194" y="0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26"/>
                  </a:lnTo>
                  <a:lnTo>
                    <a:pt x="60" y="26"/>
                  </a:lnTo>
                  <a:lnTo>
                    <a:pt x="67" y="18"/>
                  </a:lnTo>
                  <a:lnTo>
                    <a:pt x="81" y="18"/>
                  </a:lnTo>
                  <a:lnTo>
                    <a:pt x="81" y="26"/>
                  </a:lnTo>
                  <a:lnTo>
                    <a:pt x="92" y="26"/>
                  </a:lnTo>
                  <a:lnTo>
                    <a:pt x="102" y="26"/>
                  </a:lnTo>
                  <a:lnTo>
                    <a:pt x="153" y="26"/>
                  </a:lnTo>
                  <a:lnTo>
                    <a:pt x="160" y="18"/>
                  </a:lnTo>
                  <a:lnTo>
                    <a:pt x="174" y="18"/>
                  </a:lnTo>
                  <a:lnTo>
                    <a:pt x="174" y="26"/>
                  </a:lnTo>
                  <a:lnTo>
                    <a:pt x="194" y="26"/>
                  </a:lnTo>
                  <a:lnTo>
                    <a:pt x="194" y="1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0099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253" name="Freeform 49"/>
            <p:cNvSpPr>
              <a:spLocks/>
            </p:cNvSpPr>
            <p:nvPr userDrawn="1"/>
          </p:nvSpPr>
          <p:spPr bwMode="auto">
            <a:xfrm>
              <a:off x="10191768" y="5249118"/>
              <a:ext cx="787848" cy="105588"/>
            </a:xfrm>
            <a:custGeom>
              <a:avLst/>
              <a:gdLst>
                <a:gd name="T0" fmla="*/ 194 w 194"/>
                <a:gd name="T1" fmla="*/ 0 h 26"/>
                <a:gd name="T2" fmla="*/ 8 w 194"/>
                <a:gd name="T3" fmla="*/ 0 h 26"/>
                <a:gd name="T4" fmla="*/ 0 w 194"/>
                <a:gd name="T5" fmla="*/ 1 h 26"/>
                <a:gd name="T6" fmla="*/ 0 w 194"/>
                <a:gd name="T7" fmla="*/ 7 h 26"/>
                <a:gd name="T8" fmla="*/ 0 w 194"/>
                <a:gd name="T9" fmla="*/ 11 h 26"/>
                <a:gd name="T10" fmla="*/ 0 w 194"/>
                <a:gd name="T11" fmla="*/ 26 h 26"/>
                <a:gd name="T12" fmla="*/ 60 w 194"/>
                <a:gd name="T13" fmla="*/ 26 h 26"/>
                <a:gd name="T14" fmla="*/ 67 w 194"/>
                <a:gd name="T15" fmla="*/ 18 h 26"/>
                <a:gd name="T16" fmla="*/ 81 w 194"/>
                <a:gd name="T17" fmla="*/ 18 h 26"/>
                <a:gd name="T18" fmla="*/ 81 w 194"/>
                <a:gd name="T19" fmla="*/ 26 h 26"/>
                <a:gd name="T20" fmla="*/ 92 w 194"/>
                <a:gd name="T21" fmla="*/ 26 h 26"/>
                <a:gd name="T22" fmla="*/ 102 w 194"/>
                <a:gd name="T23" fmla="*/ 26 h 26"/>
                <a:gd name="T24" fmla="*/ 153 w 194"/>
                <a:gd name="T25" fmla="*/ 26 h 26"/>
                <a:gd name="T26" fmla="*/ 160 w 194"/>
                <a:gd name="T27" fmla="*/ 18 h 26"/>
                <a:gd name="T28" fmla="*/ 174 w 194"/>
                <a:gd name="T29" fmla="*/ 18 h 26"/>
                <a:gd name="T30" fmla="*/ 174 w 194"/>
                <a:gd name="T31" fmla="*/ 26 h 26"/>
                <a:gd name="T32" fmla="*/ 194 w 194"/>
                <a:gd name="T33" fmla="*/ 26 h 26"/>
                <a:gd name="T34" fmla="*/ 194 w 194"/>
                <a:gd name="T35" fmla="*/ 1 h 26"/>
                <a:gd name="T36" fmla="*/ 194 w 194"/>
                <a:gd name="T3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4" h="26">
                  <a:moveTo>
                    <a:pt x="194" y="0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26"/>
                  </a:lnTo>
                  <a:lnTo>
                    <a:pt x="60" y="26"/>
                  </a:lnTo>
                  <a:lnTo>
                    <a:pt x="67" y="18"/>
                  </a:lnTo>
                  <a:lnTo>
                    <a:pt x="81" y="18"/>
                  </a:lnTo>
                  <a:lnTo>
                    <a:pt x="81" y="26"/>
                  </a:lnTo>
                  <a:lnTo>
                    <a:pt x="92" y="26"/>
                  </a:lnTo>
                  <a:lnTo>
                    <a:pt x="102" y="26"/>
                  </a:lnTo>
                  <a:lnTo>
                    <a:pt x="153" y="26"/>
                  </a:lnTo>
                  <a:lnTo>
                    <a:pt x="160" y="18"/>
                  </a:lnTo>
                  <a:lnTo>
                    <a:pt x="174" y="18"/>
                  </a:lnTo>
                  <a:lnTo>
                    <a:pt x="174" y="26"/>
                  </a:lnTo>
                  <a:lnTo>
                    <a:pt x="194" y="26"/>
                  </a:lnTo>
                  <a:lnTo>
                    <a:pt x="194" y="1"/>
                  </a:lnTo>
                  <a:lnTo>
                    <a:pt x="19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64" name="Rectangle 52"/>
            <p:cNvSpPr>
              <a:spLocks noChangeArrowheads="1"/>
            </p:cNvSpPr>
            <p:nvPr userDrawn="1"/>
          </p:nvSpPr>
          <p:spPr bwMode="auto">
            <a:xfrm>
              <a:off x="9525752" y="3356659"/>
              <a:ext cx="146199" cy="13401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65" name="Freeform 53"/>
            <p:cNvSpPr>
              <a:spLocks/>
            </p:cNvSpPr>
            <p:nvPr userDrawn="1"/>
          </p:nvSpPr>
          <p:spPr bwMode="auto">
            <a:xfrm>
              <a:off x="9525752" y="3385085"/>
              <a:ext cx="146199" cy="105588"/>
            </a:xfrm>
            <a:custGeom>
              <a:avLst/>
              <a:gdLst>
                <a:gd name="T0" fmla="*/ 36 w 36"/>
                <a:gd name="T1" fmla="*/ 26 h 26"/>
                <a:gd name="T2" fmla="*/ 0 w 36"/>
                <a:gd name="T3" fmla="*/ 26 h 26"/>
                <a:gd name="T4" fmla="*/ 0 w 36"/>
                <a:gd name="T5" fmla="*/ 0 h 26"/>
                <a:gd name="T6" fmla="*/ 36 w 36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6">
                  <a:moveTo>
                    <a:pt x="36" y="26"/>
                  </a:moveTo>
                  <a:lnTo>
                    <a:pt x="0" y="26"/>
                  </a:lnTo>
                  <a:lnTo>
                    <a:pt x="0" y="0"/>
                  </a:lnTo>
                  <a:lnTo>
                    <a:pt x="36" y="26"/>
                  </a:lnTo>
                  <a:close/>
                </a:path>
              </a:pathLst>
            </a:custGeom>
            <a:solidFill>
              <a:srgbClr val="FFFC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67" name="Freeform 55"/>
            <p:cNvSpPr>
              <a:spLocks/>
            </p:cNvSpPr>
            <p:nvPr userDrawn="1"/>
          </p:nvSpPr>
          <p:spPr bwMode="auto">
            <a:xfrm>
              <a:off x="10163339" y="5249118"/>
              <a:ext cx="138076" cy="36551"/>
            </a:xfrm>
            <a:custGeom>
              <a:avLst/>
              <a:gdLst>
                <a:gd name="T0" fmla="*/ 13 w 73"/>
                <a:gd name="T1" fmla="*/ 14 h 20"/>
                <a:gd name="T2" fmla="*/ 33 w 73"/>
                <a:gd name="T3" fmla="*/ 11 h 20"/>
                <a:gd name="T4" fmla="*/ 43 w 73"/>
                <a:gd name="T5" fmla="*/ 17 h 20"/>
                <a:gd name="T6" fmla="*/ 54 w 73"/>
                <a:gd name="T7" fmla="*/ 17 h 20"/>
                <a:gd name="T8" fmla="*/ 63 w 73"/>
                <a:gd name="T9" fmla="*/ 10 h 20"/>
                <a:gd name="T10" fmla="*/ 64 w 73"/>
                <a:gd name="T11" fmla="*/ 9 h 20"/>
                <a:gd name="T12" fmla="*/ 73 w 73"/>
                <a:gd name="T13" fmla="*/ 0 h 20"/>
                <a:gd name="T14" fmla="*/ 0 w 73"/>
                <a:gd name="T15" fmla="*/ 0 h 20"/>
                <a:gd name="T16" fmla="*/ 2 w 73"/>
                <a:gd name="T17" fmla="*/ 6 h 20"/>
                <a:gd name="T18" fmla="*/ 13 w 73"/>
                <a:gd name="T19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20">
                  <a:moveTo>
                    <a:pt x="13" y="14"/>
                  </a:moveTo>
                  <a:cubicBezTo>
                    <a:pt x="33" y="11"/>
                    <a:pt x="33" y="11"/>
                    <a:pt x="33" y="11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6" y="20"/>
                    <a:pt x="51" y="19"/>
                    <a:pt x="54" y="17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3" y="10"/>
                    <a:pt x="63" y="10"/>
                    <a:pt x="64" y="9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11"/>
                    <a:pt x="8" y="14"/>
                    <a:pt x="13" y="14"/>
                  </a:cubicBezTo>
                  <a:close/>
                </a:path>
              </a:pathLst>
            </a:custGeom>
            <a:solidFill>
              <a:srgbClr val="6DC2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68" name="Freeform 56"/>
            <p:cNvSpPr>
              <a:spLocks noEditPoints="1"/>
            </p:cNvSpPr>
            <p:nvPr userDrawn="1"/>
          </p:nvSpPr>
          <p:spPr bwMode="auto">
            <a:xfrm>
              <a:off x="10191768" y="3848047"/>
              <a:ext cx="791910" cy="1506659"/>
            </a:xfrm>
            <a:custGeom>
              <a:avLst/>
              <a:gdLst>
                <a:gd name="T0" fmla="*/ 194 w 195"/>
                <a:gd name="T1" fmla="*/ 325 h 371"/>
                <a:gd name="T2" fmla="*/ 195 w 195"/>
                <a:gd name="T3" fmla="*/ 45 h 371"/>
                <a:gd name="T4" fmla="*/ 138 w 195"/>
                <a:gd name="T5" fmla="*/ 43 h 371"/>
                <a:gd name="T6" fmla="*/ 127 w 195"/>
                <a:gd name="T7" fmla="*/ 0 h 371"/>
                <a:gd name="T8" fmla="*/ 120 w 195"/>
                <a:gd name="T9" fmla="*/ 46 h 371"/>
                <a:gd name="T10" fmla="*/ 59 w 195"/>
                <a:gd name="T11" fmla="*/ 48 h 371"/>
                <a:gd name="T12" fmla="*/ 57 w 195"/>
                <a:gd name="T13" fmla="*/ 335 h 371"/>
                <a:gd name="T14" fmla="*/ 0 w 195"/>
                <a:gd name="T15" fmla="*/ 346 h 371"/>
                <a:gd name="T16" fmla="*/ 0 w 195"/>
                <a:gd name="T17" fmla="*/ 371 h 371"/>
                <a:gd name="T18" fmla="*/ 60 w 195"/>
                <a:gd name="T19" fmla="*/ 371 h 371"/>
                <a:gd name="T20" fmla="*/ 67 w 195"/>
                <a:gd name="T21" fmla="*/ 363 h 371"/>
                <a:gd name="T22" fmla="*/ 81 w 195"/>
                <a:gd name="T23" fmla="*/ 363 h 371"/>
                <a:gd name="T24" fmla="*/ 81 w 195"/>
                <a:gd name="T25" fmla="*/ 371 h 371"/>
                <a:gd name="T26" fmla="*/ 92 w 195"/>
                <a:gd name="T27" fmla="*/ 371 h 371"/>
                <a:gd name="T28" fmla="*/ 102 w 195"/>
                <a:gd name="T29" fmla="*/ 371 h 371"/>
                <a:gd name="T30" fmla="*/ 153 w 195"/>
                <a:gd name="T31" fmla="*/ 371 h 371"/>
                <a:gd name="T32" fmla="*/ 160 w 195"/>
                <a:gd name="T33" fmla="*/ 363 h 371"/>
                <a:gd name="T34" fmla="*/ 174 w 195"/>
                <a:gd name="T35" fmla="*/ 363 h 371"/>
                <a:gd name="T36" fmla="*/ 174 w 195"/>
                <a:gd name="T37" fmla="*/ 371 h 371"/>
                <a:gd name="T38" fmla="*/ 194 w 195"/>
                <a:gd name="T39" fmla="*/ 371 h 371"/>
                <a:gd name="T40" fmla="*/ 194 w 195"/>
                <a:gd name="T41" fmla="*/ 346 h 371"/>
                <a:gd name="T42" fmla="*/ 194 w 195"/>
                <a:gd name="T43" fmla="*/ 326 h 371"/>
                <a:gd name="T44" fmla="*/ 195 w 195"/>
                <a:gd name="T45" fmla="*/ 325 h 371"/>
                <a:gd name="T46" fmla="*/ 194 w 195"/>
                <a:gd name="T47" fmla="*/ 325 h 371"/>
                <a:gd name="T48" fmla="*/ 102 w 195"/>
                <a:gd name="T49" fmla="*/ 345 h 371"/>
                <a:gd name="T50" fmla="*/ 102 w 195"/>
                <a:gd name="T51" fmla="*/ 326 h 371"/>
                <a:gd name="T52" fmla="*/ 103 w 195"/>
                <a:gd name="T53" fmla="*/ 325 h 371"/>
                <a:gd name="T54" fmla="*/ 102 w 195"/>
                <a:gd name="T55" fmla="*/ 325 h 371"/>
                <a:gd name="T56" fmla="*/ 125 w 195"/>
                <a:gd name="T57" fmla="*/ 64 h 371"/>
                <a:gd name="T58" fmla="*/ 132 w 195"/>
                <a:gd name="T59" fmla="*/ 64 h 371"/>
                <a:gd name="T60" fmla="*/ 149 w 195"/>
                <a:gd name="T61" fmla="*/ 335 h 371"/>
                <a:gd name="T62" fmla="*/ 102 w 195"/>
                <a:gd name="T63" fmla="*/ 34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5" h="371">
                  <a:moveTo>
                    <a:pt x="194" y="325"/>
                  </a:moveTo>
                  <a:lnTo>
                    <a:pt x="195" y="45"/>
                  </a:lnTo>
                  <a:lnTo>
                    <a:pt x="138" y="43"/>
                  </a:lnTo>
                  <a:lnTo>
                    <a:pt x="127" y="0"/>
                  </a:lnTo>
                  <a:lnTo>
                    <a:pt x="120" y="46"/>
                  </a:lnTo>
                  <a:lnTo>
                    <a:pt x="59" y="48"/>
                  </a:lnTo>
                  <a:lnTo>
                    <a:pt x="57" y="335"/>
                  </a:lnTo>
                  <a:lnTo>
                    <a:pt x="0" y="346"/>
                  </a:lnTo>
                  <a:lnTo>
                    <a:pt x="0" y="371"/>
                  </a:lnTo>
                  <a:lnTo>
                    <a:pt x="60" y="371"/>
                  </a:lnTo>
                  <a:lnTo>
                    <a:pt x="67" y="363"/>
                  </a:lnTo>
                  <a:lnTo>
                    <a:pt x="81" y="363"/>
                  </a:lnTo>
                  <a:lnTo>
                    <a:pt x="81" y="371"/>
                  </a:lnTo>
                  <a:lnTo>
                    <a:pt x="92" y="371"/>
                  </a:lnTo>
                  <a:lnTo>
                    <a:pt x="102" y="371"/>
                  </a:lnTo>
                  <a:lnTo>
                    <a:pt x="153" y="371"/>
                  </a:lnTo>
                  <a:lnTo>
                    <a:pt x="160" y="363"/>
                  </a:lnTo>
                  <a:lnTo>
                    <a:pt x="174" y="363"/>
                  </a:lnTo>
                  <a:lnTo>
                    <a:pt x="174" y="371"/>
                  </a:lnTo>
                  <a:lnTo>
                    <a:pt x="194" y="371"/>
                  </a:lnTo>
                  <a:lnTo>
                    <a:pt x="194" y="346"/>
                  </a:lnTo>
                  <a:lnTo>
                    <a:pt x="194" y="326"/>
                  </a:lnTo>
                  <a:lnTo>
                    <a:pt x="195" y="325"/>
                  </a:lnTo>
                  <a:lnTo>
                    <a:pt x="194" y="325"/>
                  </a:lnTo>
                  <a:close/>
                  <a:moveTo>
                    <a:pt x="102" y="345"/>
                  </a:moveTo>
                  <a:lnTo>
                    <a:pt x="102" y="326"/>
                  </a:lnTo>
                  <a:lnTo>
                    <a:pt x="103" y="325"/>
                  </a:lnTo>
                  <a:lnTo>
                    <a:pt x="102" y="325"/>
                  </a:lnTo>
                  <a:lnTo>
                    <a:pt x="125" y="64"/>
                  </a:lnTo>
                  <a:lnTo>
                    <a:pt x="132" y="64"/>
                  </a:lnTo>
                  <a:lnTo>
                    <a:pt x="149" y="335"/>
                  </a:lnTo>
                  <a:lnTo>
                    <a:pt x="102" y="34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69" name="Freeform 57"/>
            <p:cNvSpPr>
              <a:spLocks noEditPoints="1"/>
            </p:cNvSpPr>
            <p:nvPr userDrawn="1"/>
          </p:nvSpPr>
          <p:spPr bwMode="auto">
            <a:xfrm>
              <a:off x="8640439" y="2914000"/>
              <a:ext cx="795970" cy="2440705"/>
            </a:xfrm>
            <a:custGeom>
              <a:avLst/>
              <a:gdLst>
                <a:gd name="T0" fmla="*/ 5 w 196"/>
                <a:gd name="T1" fmla="*/ 555 h 601"/>
                <a:gd name="T2" fmla="*/ 6 w 196"/>
                <a:gd name="T3" fmla="*/ 556 h 601"/>
                <a:gd name="T4" fmla="*/ 6 w 196"/>
                <a:gd name="T5" fmla="*/ 576 h 601"/>
                <a:gd name="T6" fmla="*/ 6 w 196"/>
                <a:gd name="T7" fmla="*/ 601 h 601"/>
                <a:gd name="T8" fmla="*/ 26 w 196"/>
                <a:gd name="T9" fmla="*/ 601 h 601"/>
                <a:gd name="T10" fmla="*/ 26 w 196"/>
                <a:gd name="T11" fmla="*/ 593 h 601"/>
                <a:gd name="T12" fmla="*/ 40 w 196"/>
                <a:gd name="T13" fmla="*/ 593 h 601"/>
                <a:gd name="T14" fmla="*/ 47 w 196"/>
                <a:gd name="T15" fmla="*/ 601 h 601"/>
                <a:gd name="T16" fmla="*/ 98 w 196"/>
                <a:gd name="T17" fmla="*/ 601 h 601"/>
                <a:gd name="T18" fmla="*/ 108 w 196"/>
                <a:gd name="T19" fmla="*/ 601 h 601"/>
                <a:gd name="T20" fmla="*/ 119 w 196"/>
                <a:gd name="T21" fmla="*/ 601 h 601"/>
                <a:gd name="T22" fmla="*/ 119 w 196"/>
                <a:gd name="T23" fmla="*/ 593 h 601"/>
                <a:gd name="T24" fmla="*/ 133 w 196"/>
                <a:gd name="T25" fmla="*/ 593 h 601"/>
                <a:gd name="T26" fmla="*/ 140 w 196"/>
                <a:gd name="T27" fmla="*/ 601 h 601"/>
                <a:gd name="T28" fmla="*/ 196 w 196"/>
                <a:gd name="T29" fmla="*/ 601 h 601"/>
                <a:gd name="T30" fmla="*/ 196 w 196"/>
                <a:gd name="T31" fmla="*/ 576 h 601"/>
                <a:gd name="T32" fmla="*/ 143 w 196"/>
                <a:gd name="T33" fmla="*/ 567 h 601"/>
                <a:gd name="T34" fmla="*/ 132 w 196"/>
                <a:gd name="T35" fmla="*/ 278 h 601"/>
                <a:gd name="T36" fmla="*/ 143 w 196"/>
                <a:gd name="T37" fmla="*/ 275 h 601"/>
                <a:gd name="T38" fmla="*/ 132 w 196"/>
                <a:gd name="T39" fmla="*/ 171 h 601"/>
                <a:gd name="T40" fmla="*/ 143 w 196"/>
                <a:gd name="T41" fmla="*/ 71 h 601"/>
                <a:gd name="T42" fmla="*/ 143 w 196"/>
                <a:gd name="T43" fmla="*/ 23 h 601"/>
                <a:gd name="T44" fmla="*/ 143 w 196"/>
                <a:gd name="T45" fmla="*/ 14 h 601"/>
                <a:gd name="T46" fmla="*/ 97 w 196"/>
                <a:gd name="T47" fmla="*/ 0 h 601"/>
                <a:gd name="T48" fmla="*/ 52 w 196"/>
                <a:gd name="T49" fmla="*/ 0 h 601"/>
                <a:gd name="T50" fmla="*/ 6 w 196"/>
                <a:gd name="T51" fmla="*/ 14 h 601"/>
                <a:gd name="T52" fmla="*/ 0 w 196"/>
                <a:gd name="T53" fmla="*/ 58 h 601"/>
                <a:gd name="T54" fmla="*/ 11 w 196"/>
                <a:gd name="T55" fmla="*/ 169 h 601"/>
                <a:gd name="T56" fmla="*/ 6 w 196"/>
                <a:gd name="T57" fmla="*/ 275 h 601"/>
                <a:gd name="T58" fmla="*/ 6 w 196"/>
                <a:gd name="T59" fmla="*/ 275 h 601"/>
                <a:gd name="T60" fmla="*/ 15 w 196"/>
                <a:gd name="T61" fmla="*/ 275 h 601"/>
                <a:gd name="T62" fmla="*/ 6 w 196"/>
                <a:gd name="T63" fmla="*/ 555 h 601"/>
                <a:gd name="T64" fmla="*/ 5 w 196"/>
                <a:gd name="T65" fmla="*/ 555 h 601"/>
                <a:gd name="T66" fmla="*/ 51 w 196"/>
                <a:gd name="T67" fmla="*/ 565 h 601"/>
                <a:gd name="T68" fmla="*/ 68 w 196"/>
                <a:gd name="T69" fmla="*/ 294 h 601"/>
                <a:gd name="T70" fmla="*/ 75 w 196"/>
                <a:gd name="T71" fmla="*/ 294 h 601"/>
                <a:gd name="T72" fmla="*/ 98 w 196"/>
                <a:gd name="T73" fmla="*/ 555 h 601"/>
                <a:gd name="T74" fmla="*/ 97 w 196"/>
                <a:gd name="T75" fmla="*/ 555 h 601"/>
                <a:gd name="T76" fmla="*/ 98 w 196"/>
                <a:gd name="T77" fmla="*/ 556 h 601"/>
                <a:gd name="T78" fmla="*/ 98 w 196"/>
                <a:gd name="T79" fmla="*/ 575 h 601"/>
                <a:gd name="T80" fmla="*/ 51 w 196"/>
                <a:gd name="T81" fmla="*/ 565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6" h="601">
                  <a:moveTo>
                    <a:pt x="5" y="555"/>
                  </a:moveTo>
                  <a:lnTo>
                    <a:pt x="6" y="556"/>
                  </a:lnTo>
                  <a:lnTo>
                    <a:pt x="6" y="576"/>
                  </a:lnTo>
                  <a:lnTo>
                    <a:pt x="6" y="601"/>
                  </a:lnTo>
                  <a:lnTo>
                    <a:pt x="26" y="601"/>
                  </a:lnTo>
                  <a:lnTo>
                    <a:pt x="26" y="593"/>
                  </a:lnTo>
                  <a:lnTo>
                    <a:pt x="40" y="593"/>
                  </a:lnTo>
                  <a:lnTo>
                    <a:pt x="47" y="601"/>
                  </a:lnTo>
                  <a:lnTo>
                    <a:pt x="98" y="601"/>
                  </a:lnTo>
                  <a:lnTo>
                    <a:pt x="108" y="601"/>
                  </a:lnTo>
                  <a:lnTo>
                    <a:pt x="119" y="601"/>
                  </a:lnTo>
                  <a:lnTo>
                    <a:pt x="119" y="593"/>
                  </a:lnTo>
                  <a:lnTo>
                    <a:pt x="133" y="593"/>
                  </a:lnTo>
                  <a:lnTo>
                    <a:pt x="140" y="601"/>
                  </a:lnTo>
                  <a:lnTo>
                    <a:pt x="196" y="601"/>
                  </a:lnTo>
                  <a:lnTo>
                    <a:pt x="196" y="576"/>
                  </a:lnTo>
                  <a:lnTo>
                    <a:pt x="143" y="567"/>
                  </a:lnTo>
                  <a:lnTo>
                    <a:pt x="132" y="278"/>
                  </a:lnTo>
                  <a:lnTo>
                    <a:pt x="143" y="275"/>
                  </a:lnTo>
                  <a:lnTo>
                    <a:pt x="132" y="171"/>
                  </a:lnTo>
                  <a:lnTo>
                    <a:pt x="143" y="71"/>
                  </a:lnTo>
                  <a:lnTo>
                    <a:pt x="143" y="23"/>
                  </a:lnTo>
                  <a:lnTo>
                    <a:pt x="143" y="14"/>
                  </a:lnTo>
                  <a:lnTo>
                    <a:pt x="97" y="0"/>
                  </a:lnTo>
                  <a:lnTo>
                    <a:pt x="52" y="0"/>
                  </a:lnTo>
                  <a:lnTo>
                    <a:pt x="6" y="14"/>
                  </a:lnTo>
                  <a:lnTo>
                    <a:pt x="0" y="58"/>
                  </a:lnTo>
                  <a:lnTo>
                    <a:pt x="11" y="169"/>
                  </a:lnTo>
                  <a:lnTo>
                    <a:pt x="6" y="275"/>
                  </a:lnTo>
                  <a:lnTo>
                    <a:pt x="6" y="275"/>
                  </a:lnTo>
                  <a:lnTo>
                    <a:pt x="15" y="275"/>
                  </a:lnTo>
                  <a:lnTo>
                    <a:pt x="6" y="555"/>
                  </a:lnTo>
                  <a:lnTo>
                    <a:pt x="5" y="555"/>
                  </a:lnTo>
                  <a:close/>
                  <a:moveTo>
                    <a:pt x="51" y="565"/>
                  </a:moveTo>
                  <a:lnTo>
                    <a:pt x="68" y="294"/>
                  </a:lnTo>
                  <a:lnTo>
                    <a:pt x="75" y="294"/>
                  </a:lnTo>
                  <a:lnTo>
                    <a:pt x="98" y="555"/>
                  </a:lnTo>
                  <a:lnTo>
                    <a:pt x="97" y="555"/>
                  </a:lnTo>
                  <a:lnTo>
                    <a:pt x="98" y="556"/>
                  </a:lnTo>
                  <a:lnTo>
                    <a:pt x="98" y="575"/>
                  </a:lnTo>
                  <a:lnTo>
                    <a:pt x="51" y="565"/>
                  </a:lnTo>
                  <a:close/>
                </a:path>
              </a:pathLst>
            </a:custGeom>
            <a:solidFill>
              <a:srgbClr val="773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70" name="Freeform 58"/>
            <p:cNvSpPr>
              <a:spLocks noEditPoints="1"/>
            </p:cNvSpPr>
            <p:nvPr userDrawn="1"/>
          </p:nvSpPr>
          <p:spPr bwMode="auto">
            <a:xfrm>
              <a:off x="8660743" y="3961757"/>
              <a:ext cx="775666" cy="1392949"/>
            </a:xfrm>
            <a:custGeom>
              <a:avLst/>
              <a:gdLst>
                <a:gd name="T0" fmla="*/ 0 w 191"/>
                <a:gd name="T1" fmla="*/ 297 h 343"/>
                <a:gd name="T2" fmla="*/ 1 w 191"/>
                <a:gd name="T3" fmla="*/ 298 h 343"/>
                <a:gd name="T4" fmla="*/ 1 w 191"/>
                <a:gd name="T5" fmla="*/ 318 h 343"/>
                <a:gd name="T6" fmla="*/ 1 w 191"/>
                <a:gd name="T7" fmla="*/ 343 h 343"/>
                <a:gd name="T8" fmla="*/ 21 w 191"/>
                <a:gd name="T9" fmla="*/ 343 h 343"/>
                <a:gd name="T10" fmla="*/ 21 w 191"/>
                <a:gd name="T11" fmla="*/ 337 h 343"/>
                <a:gd name="T12" fmla="*/ 35 w 191"/>
                <a:gd name="T13" fmla="*/ 337 h 343"/>
                <a:gd name="T14" fmla="*/ 42 w 191"/>
                <a:gd name="T15" fmla="*/ 343 h 343"/>
                <a:gd name="T16" fmla="*/ 93 w 191"/>
                <a:gd name="T17" fmla="*/ 343 h 343"/>
                <a:gd name="T18" fmla="*/ 103 w 191"/>
                <a:gd name="T19" fmla="*/ 343 h 343"/>
                <a:gd name="T20" fmla="*/ 114 w 191"/>
                <a:gd name="T21" fmla="*/ 343 h 343"/>
                <a:gd name="T22" fmla="*/ 114 w 191"/>
                <a:gd name="T23" fmla="*/ 337 h 343"/>
                <a:gd name="T24" fmla="*/ 128 w 191"/>
                <a:gd name="T25" fmla="*/ 337 h 343"/>
                <a:gd name="T26" fmla="*/ 135 w 191"/>
                <a:gd name="T27" fmla="*/ 343 h 343"/>
                <a:gd name="T28" fmla="*/ 191 w 191"/>
                <a:gd name="T29" fmla="*/ 343 h 343"/>
                <a:gd name="T30" fmla="*/ 191 w 191"/>
                <a:gd name="T31" fmla="*/ 318 h 343"/>
                <a:gd name="T32" fmla="*/ 138 w 191"/>
                <a:gd name="T33" fmla="*/ 309 h 343"/>
                <a:gd name="T34" fmla="*/ 127 w 191"/>
                <a:gd name="T35" fmla="*/ 20 h 343"/>
                <a:gd name="T36" fmla="*/ 75 w 191"/>
                <a:gd name="T37" fmla="*/ 18 h 343"/>
                <a:gd name="T38" fmla="*/ 66 w 191"/>
                <a:gd name="T39" fmla="*/ 0 h 343"/>
                <a:gd name="T40" fmla="*/ 58 w 191"/>
                <a:gd name="T41" fmla="*/ 15 h 343"/>
                <a:gd name="T42" fmla="*/ 10 w 191"/>
                <a:gd name="T43" fmla="*/ 17 h 343"/>
                <a:gd name="T44" fmla="*/ 1 w 191"/>
                <a:gd name="T45" fmla="*/ 297 h 343"/>
                <a:gd name="T46" fmla="*/ 0 w 191"/>
                <a:gd name="T47" fmla="*/ 297 h 343"/>
                <a:gd name="T48" fmla="*/ 46 w 191"/>
                <a:gd name="T49" fmla="*/ 307 h 343"/>
                <a:gd name="T50" fmla="*/ 63 w 191"/>
                <a:gd name="T51" fmla="*/ 36 h 343"/>
                <a:gd name="T52" fmla="*/ 70 w 191"/>
                <a:gd name="T53" fmla="*/ 36 h 343"/>
                <a:gd name="T54" fmla="*/ 93 w 191"/>
                <a:gd name="T55" fmla="*/ 297 h 343"/>
                <a:gd name="T56" fmla="*/ 92 w 191"/>
                <a:gd name="T57" fmla="*/ 297 h 343"/>
                <a:gd name="T58" fmla="*/ 93 w 191"/>
                <a:gd name="T59" fmla="*/ 298 h 343"/>
                <a:gd name="T60" fmla="*/ 93 w 191"/>
                <a:gd name="T61" fmla="*/ 317 h 343"/>
                <a:gd name="T62" fmla="*/ 46 w 191"/>
                <a:gd name="T63" fmla="*/ 307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1" h="343">
                  <a:moveTo>
                    <a:pt x="0" y="297"/>
                  </a:moveTo>
                  <a:lnTo>
                    <a:pt x="1" y="298"/>
                  </a:lnTo>
                  <a:lnTo>
                    <a:pt x="1" y="318"/>
                  </a:lnTo>
                  <a:lnTo>
                    <a:pt x="1" y="343"/>
                  </a:lnTo>
                  <a:lnTo>
                    <a:pt x="21" y="343"/>
                  </a:lnTo>
                  <a:lnTo>
                    <a:pt x="21" y="337"/>
                  </a:lnTo>
                  <a:lnTo>
                    <a:pt x="35" y="337"/>
                  </a:lnTo>
                  <a:lnTo>
                    <a:pt x="42" y="343"/>
                  </a:lnTo>
                  <a:lnTo>
                    <a:pt x="93" y="343"/>
                  </a:lnTo>
                  <a:lnTo>
                    <a:pt x="103" y="343"/>
                  </a:lnTo>
                  <a:lnTo>
                    <a:pt x="114" y="343"/>
                  </a:lnTo>
                  <a:lnTo>
                    <a:pt x="114" y="337"/>
                  </a:lnTo>
                  <a:lnTo>
                    <a:pt x="128" y="337"/>
                  </a:lnTo>
                  <a:lnTo>
                    <a:pt x="135" y="343"/>
                  </a:lnTo>
                  <a:lnTo>
                    <a:pt x="191" y="343"/>
                  </a:lnTo>
                  <a:lnTo>
                    <a:pt x="191" y="318"/>
                  </a:lnTo>
                  <a:lnTo>
                    <a:pt x="138" y="309"/>
                  </a:lnTo>
                  <a:lnTo>
                    <a:pt x="127" y="20"/>
                  </a:lnTo>
                  <a:lnTo>
                    <a:pt x="75" y="18"/>
                  </a:lnTo>
                  <a:lnTo>
                    <a:pt x="66" y="0"/>
                  </a:lnTo>
                  <a:lnTo>
                    <a:pt x="58" y="15"/>
                  </a:lnTo>
                  <a:lnTo>
                    <a:pt x="10" y="17"/>
                  </a:lnTo>
                  <a:lnTo>
                    <a:pt x="1" y="297"/>
                  </a:lnTo>
                  <a:lnTo>
                    <a:pt x="0" y="297"/>
                  </a:lnTo>
                  <a:close/>
                  <a:moveTo>
                    <a:pt x="46" y="307"/>
                  </a:moveTo>
                  <a:lnTo>
                    <a:pt x="63" y="36"/>
                  </a:lnTo>
                  <a:lnTo>
                    <a:pt x="70" y="36"/>
                  </a:lnTo>
                  <a:lnTo>
                    <a:pt x="93" y="297"/>
                  </a:lnTo>
                  <a:lnTo>
                    <a:pt x="92" y="297"/>
                  </a:lnTo>
                  <a:lnTo>
                    <a:pt x="93" y="298"/>
                  </a:lnTo>
                  <a:lnTo>
                    <a:pt x="93" y="317"/>
                  </a:lnTo>
                  <a:lnTo>
                    <a:pt x="46" y="307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71" name="Freeform 59"/>
            <p:cNvSpPr>
              <a:spLocks/>
            </p:cNvSpPr>
            <p:nvPr userDrawn="1"/>
          </p:nvSpPr>
          <p:spPr bwMode="auto">
            <a:xfrm>
              <a:off x="10553202" y="2897756"/>
              <a:ext cx="292397" cy="617283"/>
            </a:xfrm>
            <a:custGeom>
              <a:avLst/>
              <a:gdLst>
                <a:gd name="T0" fmla="*/ 64 w 72"/>
                <a:gd name="T1" fmla="*/ 0 h 152"/>
                <a:gd name="T2" fmla="*/ 53 w 72"/>
                <a:gd name="T3" fmla="*/ 0 h 152"/>
                <a:gd name="T4" fmla="*/ 36 w 72"/>
                <a:gd name="T5" fmla="*/ 65 h 152"/>
                <a:gd name="T6" fmla="*/ 16 w 72"/>
                <a:gd name="T7" fmla="*/ 0 h 152"/>
                <a:gd name="T8" fmla="*/ 8 w 72"/>
                <a:gd name="T9" fmla="*/ 0 h 152"/>
                <a:gd name="T10" fmla="*/ 0 w 72"/>
                <a:gd name="T11" fmla="*/ 28 h 152"/>
                <a:gd name="T12" fmla="*/ 6 w 72"/>
                <a:gd name="T13" fmla="*/ 33 h 152"/>
                <a:gd name="T14" fmla="*/ 0 w 72"/>
                <a:gd name="T15" fmla="*/ 40 h 152"/>
                <a:gd name="T16" fmla="*/ 36 w 72"/>
                <a:gd name="T17" fmla="*/ 152 h 152"/>
                <a:gd name="T18" fmla="*/ 72 w 72"/>
                <a:gd name="T19" fmla="*/ 40 h 152"/>
                <a:gd name="T20" fmla="*/ 66 w 72"/>
                <a:gd name="T21" fmla="*/ 33 h 152"/>
                <a:gd name="T22" fmla="*/ 72 w 72"/>
                <a:gd name="T23" fmla="*/ 28 h 152"/>
                <a:gd name="T24" fmla="*/ 64 w 72"/>
                <a:gd name="T25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52">
                  <a:moveTo>
                    <a:pt x="64" y="0"/>
                  </a:moveTo>
                  <a:lnTo>
                    <a:pt x="53" y="0"/>
                  </a:lnTo>
                  <a:lnTo>
                    <a:pt x="36" y="65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28"/>
                  </a:lnTo>
                  <a:lnTo>
                    <a:pt x="6" y="33"/>
                  </a:lnTo>
                  <a:lnTo>
                    <a:pt x="0" y="40"/>
                  </a:lnTo>
                  <a:lnTo>
                    <a:pt x="36" y="152"/>
                  </a:lnTo>
                  <a:lnTo>
                    <a:pt x="72" y="40"/>
                  </a:lnTo>
                  <a:lnTo>
                    <a:pt x="66" y="33"/>
                  </a:lnTo>
                  <a:lnTo>
                    <a:pt x="72" y="28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72" name="Freeform 60"/>
            <p:cNvSpPr>
              <a:spLocks/>
            </p:cNvSpPr>
            <p:nvPr userDrawn="1"/>
          </p:nvSpPr>
          <p:spPr bwMode="auto">
            <a:xfrm>
              <a:off x="8794760" y="2897756"/>
              <a:ext cx="292397" cy="698504"/>
            </a:xfrm>
            <a:custGeom>
              <a:avLst/>
              <a:gdLst>
                <a:gd name="T0" fmla="*/ 64 w 72"/>
                <a:gd name="T1" fmla="*/ 0 h 172"/>
                <a:gd name="T2" fmla="*/ 8 w 72"/>
                <a:gd name="T3" fmla="*/ 0 h 172"/>
                <a:gd name="T4" fmla="*/ 0 w 72"/>
                <a:gd name="T5" fmla="*/ 28 h 172"/>
                <a:gd name="T6" fmla="*/ 6 w 72"/>
                <a:gd name="T7" fmla="*/ 33 h 172"/>
                <a:gd name="T8" fmla="*/ 0 w 72"/>
                <a:gd name="T9" fmla="*/ 40 h 172"/>
                <a:gd name="T10" fmla="*/ 36 w 72"/>
                <a:gd name="T11" fmla="*/ 172 h 172"/>
                <a:gd name="T12" fmla="*/ 72 w 72"/>
                <a:gd name="T13" fmla="*/ 40 h 172"/>
                <a:gd name="T14" fmla="*/ 66 w 72"/>
                <a:gd name="T15" fmla="*/ 33 h 172"/>
                <a:gd name="T16" fmla="*/ 72 w 72"/>
                <a:gd name="T17" fmla="*/ 28 h 172"/>
                <a:gd name="T18" fmla="*/ 64 w 72"/>
                <a:gd name="T19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172">
                  <a:moveTo>
                    <a:pt x="64" y="0"/>
                  </a:moveTo>
                  <a:lnTo>
                    <a:pt x="8" y="0"/>
                  </a:lnTo>
                  <a:lnTo>
                    <a:pt x="0" y="28"/>
                  </a:lnTo>
                  <a:lnTo>
                    <a:pt x="6" y="33"/>
                  </a:lnTo>
                  <a:lnTo>
                    <a:pt x="0" y="40"/>
                  </a:lnTo>
                  <a:lnTo>
                    <a:pt x="36" y="172"/>
                  </a:lnTo>
                  <a:lnTo>
                    <a:pt x="72" y="40"/>
                  </a:lnTo>
                  <a:lnTo>
                    <a:pt x="66" y="33"/>
                  </a:lnTo>
                  <a:lnTo>
                    <a:pt x="72" y="28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73" name="Freeform 61"/>
            <p:cNvSpPr>
              <a:spLocks/>
            </p:cNvSpPr>
            <p:nvPr userDrawn="1"/>
          </p:nvSpPr>
          <p:spPr bwMode="auto">
            <a:xfrm>
              <a:off x="10605997" y="2877452"/>
              <a:ext cx="186809" cy="467025"/>
            </a:xfrm>
            <a:custGeom>
              <a:avLst/>
              <a:gdLst>
                <a:gd name="T0" fmla="*/ 34 w 46"/>
                <a:gd name="T1" fmla="*/ 9 h 115"/>
                <a:gd name="T2" fmla="*/ 24 w 46"/>
                <a:gd name="T3" fmla="*/ 36 h 115"/>
                <a:gd name="T4" fmla="*/ 11 w 46"/>
                <a:gd name="T5" fmla="*/ 9 h 115"/>
                <a:gd name="T6" fmla="*/ 0 w 46"/>
                <a:gd name="T7" fmla="*/ 0 h 115"/>
                <a:gd name="T8" fmla="*/ 0 w 46"/>
                <a:gd name="T9" fmla="*/ 22 h 115"/>
                <a:gd name="T10" fmla="*/ 23 w 46"/>
                <a:gd name="T11" fmla="*/ 115 h 115"/>
                <a:gd name="T12" fmla="*/ 46 w 46"/>
                <a:gd name="T13" fmla="*/ 22 h 115"/>
                <a:gd name="T14" fmla="*/ 46 w 46"/>
                <a:gd name="T15" fmla="*/ 0 h 115"/>
                <a:gd name="T16" fmla="*/ 34 w 46"/>
                <a:gd name="T17" fmla="*/ 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115">
                  <a:moveTo>
                    <a:pt x="34" y="9"/>
                  </a:moveTo>
                  <a:lnTo>
                    <a:pt x="24" y="36"/>
                  </a:lnTo>
                  <a:lnTo>
                    <a:pt x="11" y="9"/>
                  </a:lnTo>
                  <a:lnTo>
                    <a:pt x="0" y="0"/>
                  </a:lnTo>
                  <a:lnTo>
                    <a:pt x="0" y="22"/>
                  </a:lnTo>
                  <a:lnTo>
                    <a:pt x="23" y="115"/>
                  </a:lnTo>
                  <a:lnTo>
                    <a:pt x="46" y="22"/>
                  </a:lnTo>
                  <a:lnTo>
                    <a:pt x="46" y="0"/>
                  </a:lnTo>
                  <a:lnTo>
                    <a:pt x="34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74" name="Freeform 62"/>
            <p:cNvSpPr>
              <a:spLocks/>
            </p:cNvSpPr>
            <p:nvPr userDrawn="1"/>
          </p:nvSpPr>
          <p:spPr bwMode="auto">
            <a:xfrm>
              <a:off x="10874028" y="2946489"/>
              <a:ext cx="357374" cy="804092"/>
            </a:xfrm>
            <a:custGeom>
              <a:avLst/>
              <a:gdLst>
                <a:gd name="T0" fmla="*/ 112 w 187"/>
                <a:gd name="T1" fmla="*/ 421 h 421"/>
                <a:gd name="T2" fmla="*/ 49 w 187"/>
                <a:gd name="T3" fmla="*/ 360 h 421"/>
                <a:gd name="T4" fmla="*/ 99 w 187"/>
                <a:gd name="T5" fmla="*/ 238 h 421"/>
                <a:gd name="T6" fmla="*/ 0 w 187"/>
                <a:gd name="T7" fmla="*/ 78 h 421"/>
                <a:gd name="T8" fmla="*/ 15 w 187"/>
                <a:gd name="T9" fmla="*/ 0 h 421"/>
                <a:gd name="T10" fmla="*/ 50 w 187"/>
                <a:gd name="T11" fmla="*/ 4 h 421"/>
                <a:gd name="T12" fmla="*/ 187 w 187"/>
                <a:gd name="T13" fmla="*/ 239 h 421"/>
                <a:gd name="T14" fmla="*/ 112 w 187"/>
                <a:gd name="T15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7" h="421">
                  <a:moveTo>
                    <a:pt x="112" y="421"/>
                  </a:moveTo>
                  <a:cubicBezTo>
                    <a:pt x="49" y="360"/>
                    <a:pt x="49" y="360"/>
                    <a:pt x="49" y="360"/>
                  </a:cubicBezTo>
                  <a:cubicBezTo>
                    <a:pt x="81" y="327"/>
                    <a:pt x="98" y="284"/>
                    <a:pt x="99" y="238"/>
                  </a:cubicBezTo>
                  <a:cubicBezTo>
                    <a:pt x="99" y="170"/>
                    <a:pt x="62" y="108"/>
                    <a:pt x="0" y="78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2"/>
                    <a:pt x="46" y="3"/>
                    <a:pt x="50" y="4"/>
                  </a:cubicBezTo>
                  <a:cubicBezTo>
                    <a:pt x="135" y="52"/>
                    <a:pt x="187" y="140"/>
                    <a:pt x="187" y="239"/>
                  </a:cubicBezTo>
                  <a:cubicBezTo>
                    <a:pt x="186" y="307"/>
                    <a:pt x="160" y="372"/>
                    <a:pt x="112" y="421"/>
                  </a:cubicBezTo>
                  <a:close/>
                </a:path>
              </a:pathLst>
            </a:custGeom>
            <a:solidFill>
              <a:srgbClr val="00B2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75" name="Freeform 63"/>
            <p:cNvSpPr>
              <a:spLocks/>
            </p:cNvSpPr>
            <p:nvPr userDrawn="1"/>
          </p:nvSpPr>
          <p:spPr bwMode="auto">
            <a:xfrm>
              <a:off x="10764378" y="3746521"/>
              <a:ext cx="194931" cy="117772"/>
            </a:xfrm>
            <a:custGeom>
              <a:avLst/>
              <a:gdLst>
                <a:gd name="T0" fmla="*/ 48 w 48"/>
                <a:gd name="T1" fmla="*/ 29 h 29"/>
                <a:gd name="T2" fmla="*/ 0 w 48"/>
                <a:gd name="T3" fmla="*/ 13 h 29"/>
                <a:gd name="T4" fmla="*/ 0 w 48"/>
                <a:gd name="T5" fmla="*/ 0 h 29"/>
                <a:gd name="T6" fmla="*/ 48 w 48"/>
                <a:gd name="T7" fmla="*/ 16 h 29"/>
                <a:gd name="T8" fmla="*/ 48 w 48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9">
                  <a:moveTo>
                    <a:pt x="48" y="29"/>
                  </a:moveTo>
                  <a:lnTo>
                    <a:pt x="0" y="13"/>
                  </a:lnTo>
                  <a:lnTo>
                    <a:pt x="0" y="0"/>
                  </a:lnTo>
                  <a:lnTo>
                    <a:pt x="48" y="16"/>
                  </a:lnTo>
                  <a:lnTo>
                    <a:pt x="48" y="29"/>
                  </a:ln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76" name="Freeform 64"/>
            <p:cNvSpPr>
              <a:spLocks/>
            </p:cNvSpPr>
            <p:nvPr userDrawn="1"/>
          </p:nvSpPr>
          <p:spPr bwMode="auto">
            <a:xfrm>
              <a:off x="10463858" y="3746521"/>
              <a:ext cx="194931" cy="117772"/>
            </a:xfrm>
            <a:custGeom>
              <a:avLst/>
              <a:gdLst>
                <a:gd name="T0" fmla="*/ 0 w 48"/>
                <a:gd name="T1" fmla="*/ 29 h 29"/>
                <a:gd name="T2" fmla="*/ 48 w 48"/>
                <a:gd name="T3" fmla="*/ 13 h 29"/>
                <a:gd name="T4" fmla="*/ 48 w 48"/>
                <a:gd name="T5" fmla="*/ 0 h 29"/>
                <a:gd name="T6" fmla="*/ 0 w 48"/>
                <a:gd name="T7" fmla="*/ 16 h 29"/>
                <a:gd name="T8" fmla="*/ 0 w 48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9">
                  <a:moveTo>
                    <a:pt x="0" y="29"/>
                  </a:moveTo>
                  <a:lnTo>
                    <a:pt x="48" y="13"/>
                  </a:lnTo>
                  <a:lnTo>
                    <a:pt x="48" y="0"/>
                  </a:lnTo>
                  <a:lnTo>
                    <a:pt x="0" y="16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77" name="Oval 65"/>
            <p:cNvSpPr>
              <a:spLocks noChangeArrowheads="1"/>
            </p:cNvSpPr>
            <p:nvPr userDrawn="1"/>
          </p:nvSpPr>
          <p:spPr bwMode="auto">
            <a:xfrm>
              <a:off x="10683156" y="3640934"/>
              <a:ext cx="36551" cy="36551"/>
            </a:xfrm>
            <a:prstGeom prst="ellipse">
              <a:avLst/>
            </a:pr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78" name="Freeform 66"/>
            <p:cNvSpPr>
              <a:spLocks/>
            </p:cNvSpPr>
            <p:nvPr userDrawn="1"/>
          </p:nvSpPr>
          <p:spPr bwMode="auto">
            <a:xfrm>
              <a:off x="9074972" y="3137361"/>
              <a:ext cx="81221" cy="56855"/>
            </a:xfrm>
            <a:custGeom>
              <a:avLst/>
              <a:gdLst>
                <a:gd name="T0" fmla="*/ 0 w 20"/>
                <a:gd name="T1" fmla="*/ 14 h 14"/>
                <a:gd name="T2" fmla="*/ 5 w 20"/>
                <a:gd name="T3" fmla="*/ 4 h 14"/>
                <a:gd name="T4" fmla="*/ 11 w 20"/>
                <a:gd name="T5" fmla="*/ 5 h 14"/>
                <a:gd name="T6" fmla="*/ 16 w 20"/>
                <a:gd name="T7" fmla="*/ 0 h 14"/>
                <a:gd name="T8" fmla="*/ 20 w 20"/>
                <a:gd name="T9" fmla="*/ 5 h 14"/>
                <a:gd name="T10" fmla="*/ 10 w 20"/>
                <a:gd name="T11" fmla="*/ 11 h 14"/>
                <a:gd name="T12" fmla="*/ 0 w 20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4">
                  <a:moveTo>
                    <a:pt x="0" y="14"/>
                  </a:moveTo>
                  <a:lnTo>
                    <a:pt x="5" y="4"/>
                  </a:lnTo>
                  <a:lnTo>
                    <a:pt x="11" y="5"/>
                  </a:lnTo>
                  <a:lnTo>
                    <a:pt x="16" y="0"/>
                  </a:lnTo>
                  <a:lnTo>
                    <a:pt x="20" y="5"/>
                  </a:lnTo>
                  <a:lnTo>
                    <a:pt x="10" y="11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79" name="Freeform 67"/>
            <p:cNvSpPr>
              <a:spLocks/>
            </p:cNvSpPr>
            <p:nvPr userDrawn="1"/>
          </p:nvSpPr>
          <p:spPr bwMode="auto">
            <a:xfrm>
              <a:off x="8993751" y="3730277"/>
              <a:ext cx="194931" cy="117772"/>
            </a:xfrm>
            <a:custGeom>
              <a:avLst/>
              <a:gdLst>
                <a:gd name="T0" fmla="*/ 48 w 48"/>
                <a:gd name="T1" fmla="*/ 29 h 29"/>
                <a:gd name="T2" fmla="*/ 0 w 48"/>
                <a:gd name="T3" fmla="*/ 13 h 29"/>
                <a:gd name="T4" fmla="*/ 0 w 48"/>
                <a:gd name="T5" fmla="*/ 0 h 29"/>
                <a:gd name="T6" fmla="*/ 48 w 48"/>
                <a:gd name="T7" fmla="*/ 16 h 29"/>
                <a:gd name="T8" fmla="*/ 48 w 48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9">
                  <a:moveTo>
                    <a:pt x="48" y="29"/>
                  </a:moveTo>
                  <a:lnTo>
                    <a:pt x="0" y="13"/>
                  </a:lnTo>
                  <a:lnTo>
                    <a:pt x="0" y="0"/>
                  </a:lnTo>
                  <a:lnTo>
                    <a:pt x="48" y="16"/>
                  </a:lnTo>
                  <a:lnTo>
                    <a:pt x="48" y="29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80" name="Freeform 68"/>
            <p:cNvSpPr>
              <a:spLocks/>
            </p:cNvSpPr>
            <p:nvPr userDrawn="1"/>
          </p:nvSpPr>
          <p:spPr bwMode="auto">
            <a:xfrm>
              <a:off x="8693232" y="3730277"/>
              <a:ext cx="194931" cy="117772"/>
            </a:xfrm>
            <a:custGeom>
              <a:avLst/>
              <a:gdLst>
                <a:gd name="T0" fmla="*/ 0 w 48"/>
                <a:gd name="T1" fmla="*/ 29 h 29"/>
                <a:gd name="T2" fmla="*/ 48 w 48"/>
                <a:gd name="T3" fmla="*/ 13 h 29"/>
                <a:gd name="T4" fmla="*/ 48 w 48"/>
                <a:gd name="T5" fmla="*/ 0 h 29"/>
                <a:gd name="T6" fmla="*/ 0 w 48"/>
                <a:gd name="T7" fmla="*/ 16 h 29"/>
                <a:gd name="T8" fmla="*/ 0 w 48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9">
                  <a:moveTo>
                    <a:pt x="0" y="29"/>
                  </a:moveTo>
                  <a:lnTo>
                    <a:pt x="48" y="13"/>
                  </a:lnTo>
                  <a:lnTo>
                    <a:pt x="48" y="0"/>
                  </a:lnTo>
                  <a:lnTo>
                    <a:pt x="0" y="16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auto">
            <a:xfrm>
              <a:off x="8989691" y="3153605"/>
              <a:ext cx="174627" cy="85284"/>
            </a:xfrm>
            <a:custGeom>
              <a:avLst/>
              <a:gdLst>
                <a:gd name="T0" fmla="*/ 0 w 43"/>
                <a:gd name="T1" fmla="*/ 14 h 21"/>
                <a:gd name="T2" fmla="*/ 43 w 43"/>
                <a:gd name="T3" fmla="*/ 0 h 21"/>
                <a:gd name="T4" fmla="*/ 43 w 43"/>
                <a:gd name="T5" fmla="*/ 7 h 21"/>
                <a:gd name="T6" fmla="*/ 0 w 43"/>
                <a:gd name="T7" fmla="*/ 21 h 21"/>
                <a:gd name="T8" fmla="*/ 0 w 43"/>
                <a:gd name="T9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1">
                  <a:moveTo>
                    <a:pt x="0" y="14"/>
                  </a:moveTo>
                  <a:lnTo>
                    <a:pt x="43" y="0"/>
                  </a:lnTo>
                  <a:lnTo>
                    <a:pt x="43" y="7"/>
                  </a:lnTo>
                  <a:lnTo>
                    <a:pt x="0" y="21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82" name="Oval 70"/>
            <p:cNvSpPr>
              <a:spLocks noChangeArrowheads="1"/>
            </p:cNvSpPr>
            <p:nvPr userDrawn="1"/>
          </p:nvSpPr>
          <p:spPr bwMode="auto">
            <a:xfrm>
              <a:off x="8940958" y="3640934"/>
              <a:ext cx="40611" cy="36551"/>
            </a:xfrm>
            <a:prstGeom prst="ellipse">
              <a:avLst/>
            </a:pr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84" name="Freeform 71"/>
            <p:cNvSpPr>
              <a:spLocks/>
            </p:cNvSpPr>
            <p:nvPr userDrawn="1"/>
          </p:nvSpPr>
          <p:spPr bwMode="auto">
            <a:xfrm>
              <a:off x="9087157" y="2954611"/>
              <a:ext cx="422351" cy="686322"/>
            </a:xfrm>
            <a:custGeom>
              <a:avLst/>
              <a:gdLst>
                <a:gd name="T0" fmla="*/ 99 w 220"/>
                <a:gd name="T1" fmla="*/ 359 h 359"/>
                <a:gd name="T2" fmla="*/ 59 w 220"/>
                <a:gd name="T3" fmla="*/ 286 h 359"/>
                <a:gd name="T4" fmla="*/ 129 w 220"/>
                <a:gd name="T5" fmla="*/ 192 h 359"/>
                <a:gd name="T6" fmla="*/ 29 w 220"/>
                <a:gd name="T7" fmla="*/ 95 h 359"/>
                <a:gd name="T8" fmla="*/ 0 w 220"/>
                <a:gd name="T9" fmla="*/ 18 h 359"/>
                <a:gd name="T10" fmla="*/ 106 w 220"/>
                <a:gd name="T11" fmla="*/ 39 h 359"/>
                <a:gd name="T12" fmla="*/ 194 w 220"/>
                <a:gd name="T13" fmla="*/ 129 h 359"/>
                <a:gd name="T14" fmla="*/ 207 w 220"/>
                <a:gd name="T15" fmla="*/ 248 h 359"/>
                <a:gd name="T16" fmla="*/ 99 w 220"/>
                <a:gd name="T17" fmla="*/ 35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0" h="359">
                  <a:moveTo>
                    <a:pt x="99" y="359"/>
                  </a:moveTo>
                  <a:cubicBezTo>
                    <a:pt x="59" y="286"/>
                    <a:pt x="59" y="286"/>
                    <a:pt x="59" y="286"/>
                  </a:cubicBezTo>
                  <a:cubicBezTo>
                    <a:pt x="113" y="256"/>
                    <a:pt x="136" y="224"/>
                    <a:pt x="129" y="192"/>
                  </a:cubicBezTo>
                  <a:cubicBezTo>
                    <a:pt x="118" y="140"/>
                    <a:pt x="48" y="97"/>
                    <a:pt x="29" y="95"/>
                  </a:cubicBezTo>
                  <a:cubicBezTo>
                    <a:pt x="30" y="95"/>
                    <a:pt x="0" y="18"/>
                    <a:pt x="0" y="18"/>
                  </a:cubicBezTo>
                  <a:cubicBezTo>
                    <a:pt x="33" y="0"/>
                    <a:pt x="76" y="20"/>
                    <a:pt x="106" y="39"/>
                  </a:cubicBezTo>
                  <a:cubicBezTo>
                    <a:pt x="144" y="62"/>
                    <a:pt x="176" y="95"/>
                    <a:pt x="194" y="129"/>
                  </a:cubicBezTo>
                  <a:cubicBezTo>
                    <a:pt x="216" y="168"/>
                    <a:pt x="220" y="209"/>
                    <a:pt x="207" y="248"/>
                  </a:cubicBezTo>
                  <a:cubicBezTo>
                    <a:pt x="192" y="291"/>
                    <a:pt x="156" y="328"/>
                    <a:pt x="99" y="359"/>
                  </a:cubicBezTo>
                  <a:close/>
                </a:path>
              </a:pathLst>
            </a:custGeom>
            <a:solidFill>
              <a:srgbClr val="773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85" name="Freeform 72"/>
            <p:cNvSpPr>
              <a:spLocks/>
            </p:cNvSpPr>
            <p:nvPr userDrawn="1"/>
          </p:nvSpPr>
          <p:spPr bwMode="auto">
            <a:xfrm>
              <a:off x="8847552" y="2877452"/>
              <a:ext cx="186809" cy="373619"/>
            </a:xfrm>
            <a:custGeom>
              <a:avLst/>
              <a:gdLst>
                <a:gd name="T0" fmla="*/ 19 w 46"/>
                <a:gd name="T1" fmla="*/ 4 h 92"/>
                <a:gd name="T2" fmla="*/ 28 w 46"/>
                <a:gd name="T3" fmla="*/ 4 h 92"/>
                <a:gd name="T4" fmla="*/ 46 w 46"/>
                <a:gd name="T5" fmla="*/ 0 h 92"/>
                <a:gd name="T6" fmla="*/ 46 w 46"/>
                <a:gd name="T7" fmla="*/ 22 h 92"/>
                <a:gd name="T8" fmla="*/ 33 w 46"/>
                <a:gd name="T9" fmla="*/ 89 h 92"/>
                <a:gd name="T10" fmla="*/ 26 w 46"/>
                <a:gd name="T11" fmla="*/ 23 h 92"/>
                <a:gd name="T12" fmla="*/ 31 w 46"/>
                <a:gd name="T13" fmla="*/ 14 h 92"/>
                <a:gd name="T14" fmla="*/ 28 w 46"/>
                <a:gd name="T15" fmla="*/ 10 h 92"/>
                <a:gd name="T16" fmla="*/ 19 w 46"/>
                <a:gd name="T17" fmla="*/ 10 h 92"/>
                <a:gd name="T18" fmla="*/ 16 w 46"/>
                <a:gd name="T19" fmla="*/ 14 h 92"/>
                <a:gd name="T20" fmla="*/ 21 w 46"/>
                <a:gd name="T21" fmla="*/ 23 h 92"/>
                <a:gd name="T22" fmla="*/ 13 w 46"/>
                <a:gd name="T23" fmla="*/ 92 h 92"/>
                <a:gd name="T24" fmla="*/ 0 w 46"/>
                <a:gd name="T25" fmla="*/ 22 h 92"/>
                <a:gd name="T26" fmla="*/ 0 w 46"/>
                <a:gd name="T27" fmla="*/ 0 h 92"/>
                <a:gd name="T28" fmla="*/ 19 w 46"/>
                <a:gd name="T29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92">
                  <a:moveTo>
                    <a:pt x="19" y="4"/>
                  </a:moveTo>
                  <a:lnTo>
                    <a:pt x="28" y="4"/>
                  </a:lnTo>
                  <a:lnTo>
                    <a:pt x="46" y="0"/>
                  </a:lnTo>
                  <a:lnTo>
                    <a:pt x="46" y="22"/>
                  </a:lnTo>
                  <a:lnTo>
                    <a:pt x="33" y="89"/>
                  </a:lnTo>
                  <a:lnTo>
                    <a:pt x="26" y="23"/>
                  </a:lnTo>
                  <a:lnTo>
                    <a:pt x="31" y="14"/>
                  </a:lnTo>
                  <a:lnTo>
                    <a:pt x="28" y="10"/>
                  </a:lnTo>
                  <a:lnTo>
                    <a:pt x="19" y="10"/>
                  </a:lnTo>
                  <a:lnTo>
                    <a:pt x="16" y="14"/>
                  </a:lnTo>
                  <a:lnTo>
                    <a:pt x="21" y="23"/>
                  </a:lnTo>
                  <a:lnTo>
                    <a:pt x="13" y="9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86" name="Freeform 73"/>
            <p:cNvSpPr>
              <a:spLocks/>
            </p:cNvSpPr>
            <p:nvPr userDrawn="1"/>
          </p:nvSpPr>
          <p:spPr bwMode="auto">
            <a:xfrm>
              <a:off x="8733842" y="2991162"/>
              <a:ext cx="800032" cy="511695"/>
            </a:xfrm>
            <a:custGeom>
              <a:avLst/>
              <a:gdLst>
                <a:gd name="T0" fmla="*/ 417 w 417"/>
                <a:gd name="T1" fmla="*/ 267 h 267"/>
                <a:gd name="T2" fmla="*/ 417 w 417"/>
                <a:gd name="T3" fmla="*/ 179 h 267"/>
                <a:gd name="T4" fmla="*/ 134 w 417"/>
                <a:gd name="T5" fmla="*/ 66 h 267"/>
                <a:gd name="T6" fmla="*/ 0 w 417"/>
                <a:gd name="T7" fmla="*/ 0 h 267"/>
                <a:gd name="T8" fmla="*/ 0 w 417"/>
                <a:gd name="T9" fmla="*/ 88 h 267"/>
                <a:gd name="T10" fmla="*/ 82 w 417"/>
                <a:gd name="T11" fmla="*/ 137 h 267"/>
                <a:gd name="T12" fmla="*/ 417 w 417"/>
                <a:gd name="T13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7" h="267">
                  <a:moveTo>
                    <a:pt x="417" y="267"/>
                  </a:moveTo>
                  <a:cubicBezTo>
                    <a:pt x="417" y="179"/>
                    <a:pt x="417" y="179"/>
                    <a:pt x="417" y="179"/>
                  </a:cubicBezTo>
                  <a:cubicBezTo>
                    <a:pt x="285" y="179"/>
                    <a:pt x="201" y="116"/>
                    <a:pt x="134" y="66"/>
                  </a:cubicBezTo>
                  <a:cubicBezTo>
                    <a:pt x="87" y="31"/>
                    <a:pt x="47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18" y="88"/>
                    <a:pt x="49" y="112"/>
                    <a:pt x="82" y="137"/>
                  </a:cubicBezTo>
                  <a:cubicBezTo>
                    <a:pt x="155" y="192"/>
                    <a:pt x="255" y="267"/>
                    <a:pt x="417" y="267"/>
                  </a:cubicBezTo>
                  <a:close/>
                </a:path>
              </a:pathLst>
            </a:custGeom>
            <a:solidFill>
              <a:srgbClr val="773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87" name="Freeform 74"/>
            <p:cNvSpPr>
              <a:spLocks/>
            </p:cNvSpPr>
            <p:nvPr userDrawn="1"/>
          </p:nvSpPr>
          <p:spPr bwMode="auto">
            <a:xfrm>
              <a:off x="8644499" y="3125176"/>
              <a:ext cx="889376" cy="377681"/>
            </a:xfrm>
            <a:custGeom>
              <a:avLst/>
              <a:gdLst>
                <a:gd name="T0" fmla="*/ 0 w 465"/>
                <a:gd name="T1" fmla="*/ 0 h 196"/>
                <a:gd name="T2" fmla="*/ 0 w 465"/>
                <a:gd name="T3" fmla="*/ 22 h 196"/>
                <a:gd name="T4" fmla="*/ 91 w 465"/>
                <a:gd name="T5" fmla="*/ 69 h 196"/>
                <a:gd name="T6" fmla="*/ 465 w 465"/>
                <a:gd name="T7" fmla="*/ 196 h 196"/>
                <a:gd name="T8" fmla="*/ 465 w 465"/>
                <a:gd name="T9" fmla="*/ 171 h 196"/>
                <a:gd name="T10" fmla="*/ 130 w 465"/>
                <a:gd name="T11" fmla="*/ 61 h 196"/>
                <a:gd name="T12" fmla="*/ 0 w 465"/>
                <a:gd name="T13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5" h="196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20" y="22"/>
                    <a:pt x="54" y="45"/>
                    <a:pt x="91" y="69"/>
                  </a:cubicBezTo>
                  <a:cubicBezTo>
                    <a:pt x="173" y="123"/>
                    <a:pt x="285" y="196"/>
                    <a:pt x="465" y="196"/>
                  </a:cubicBezTo>
                  <a:cubicBezTo>
                    <a:pt x="465" y="171"/>
                    <a:pt x="465" y="171"/>
                    <a:pt x="465" y="171"/>
                  </a:cubicBezTo>
                  <a:cubicBezTo>
                    <a:pt x="308" y="171"/>
                    <a:pt x="209" y="110"/>
                    <a:pt x="130" y="61"/>
                  </a:cubicBezTo>
                  <a:cubicBezTo>
                    <a:pt x="84" y="33"/>
                    <a:pt x="44" y="8"/>
                    <a:pt x="0" y="0"/>
                  </a:cubicBezTo>
                  <a:close/>
                </a:path>
              </a:pathLst>
            </a:custGeom>
            <a:solidFill>
              <a:srgbClr val="442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88" name="Oval 75"/>
            <p:cNvSpPr>
              <a:spLocks noChangeArrowheads="1"/>
            </p:cNvSpPr>
            <p:nvPr userDrawn="1"/>
          </p:nvSpPr>
          <p:spPr bwMode="auto">
            <a:xfrm>
              <a:off x="9079035" y="2593177"/>
              <a:ext cx="16244" cy="20307"/>
            </a:xfrm>
            <a:prstGeom prst="ellipse">
              <a:avLst/>
            </a:prstGeom>
            <a:solidFill>
              <a:srgbClr val="F68C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  <p:sp>
          <p:nvSpPr>
            <p:cNvPr id="89" name="Freeform 76"/>
            <p:cNvSpPr>
              <a:spLocks/>
            </p:cNvSpPr>
            <p:nvPr userDrawn="1"/>
          </p:nvSpPr>
          <p:spPr bwMode="auto">
            <a:xfrm>
              <a:off x="10516654" y="2369817"/>
              <a:ext cx="361437" cy="369559"/>
            </a:xfrm>
            <a:custGeom>
              <a:avLst/>
              <a:gdLst>
                <a:gd name="T0" fmla="*/ 0 w 190"/>
                <a:gd name="T1" fmla="*/ 38 h 195"/>
                <a:gd name="T2" fmla="*/ 93 w 190"/>
                <a:gd name="T3" fmla="*/ 6 h 195"/>
                <a:gd name="T4" fmla="*/ 180 w 190"/>
                <a:gd name="T5" fmla="*/ 127 h 195"/>
                <a:gd name="T6" fmla="*/ 145 w 190"/>
                <a:gd name="T7" fmla="*/ 195 h 195"/>
                <a:gd name="T8" fmla="*/ 102 w 190"/>
                <a:gd name="T9" fmla="*/ 106 h 195"/>
                <a:gd name="T10" fmla="*/ 0 w 190"/>
                <a:gd name="T11" fmla="*/ 38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0" h="195">
                  <a:moveTo>
                    <a:pt x="0" y="38"/>
                  </a:moveTo>
                  <a:cubicBezTo>
                    <a:pt x="23" y="13"/>
                    <a:pt x="58" y="0"/>
                    <a:pt x="93" y="6"/>
                  </a:cubicBezTo>
                  <a:cubicBezTo>
                    <a:pt x="151" y="15"/>
                    <a:pt x="190" y="69"/>
                    <a:pt x="180" y="127"/>
                  </a:cubicBezTo>
                  <a:cubicBezTo>
                    <a:pt x="177" y="145"/>
                    <a:pt x="156" y="182"/>
                    <a:pt x="145" y="195"/>
                  </a:cubicBezTo>
                  <a:cubicBezTo>
                    <a:pt x="144" y="195"/>
                    <a:pt x="91" y="185"/>
                    <a:pt x="102" y="106"/>
                  </a:cubicBezTo>
                  <a:cubicBezTo>
                    <a:pt x="102" y="106"/>
                    <a:pt x="32" y="96"/>
                    <a:pt x="0" y="38"/>
                  </a:cubicBezTo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</p:grpSp>
      <p:sp>
        <p:nvSpPr>
          <p:cNvPr id="83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4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95038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72"/>
            <a:ext cx="12192000" cy="6858973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7620" y="2084173"/>
            <a:ext cx="6276593" cy="3583075"/>
          </a:xfrm>
          <a:prstGeom prst="rect">
            <a:avLst/>
          </a:prstGeom>
          <a:solidFill>
            <a:srgbClr val="0078D7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084173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20" y="3877257"/>
            <a:ext cx="6276530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gray">
          <a:xfrm>
            <a:off x="448525" y="6041472"/>
            <a:ext cx="1648360" cy="353933"/>
            <a:chOff x="457200" y="1643393"/>
            <a:chExt cx="4492753" cy="96454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2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49225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24" y="6041178"/>
            <a:ext cx="1613565" cy="34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31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288212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053006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280137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0591907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722543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773556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6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53029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2493714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5044193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238085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908423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08388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59807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00211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99077597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096081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 userDrawn="1">
          <p15:clr>
            <a:srgbClr val="5ACBF0"/>
          </p15:clr>
        </p15:guide>
        <p15:guide id="4" orient="horz" pos="1276" userDrawn="1">
          <p15:clr>
            <a:srgbClr val="5ACBF0"/>
          </p15:clr>
        </p15:guide>
        <p15:guide id="5" orient="horz" pos="288" userDrawn="1">
          <p15:clr>
            <a:srgbClr val="5ACBF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7138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9569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0893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459308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</a:t>
            </a:r>
            <a:r>
              <a:rPr lang="en-US" sz="686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Copyright</a:t>
            </a:r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857824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05761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image" Target="../media/image16.png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0" r:id="rId1"/>
    <p:sldLayoutId id="2147484609" r:id="rId2"/>
    <p:sldLayoutId id="2147484577" r:id="rId3"/>
    <p:sldLayoutId id="2147484610" r:id="rId4"/>
    <p:sldLayoutId id="2147484240" r:id="rId5"/>
    <p:sldLayoutId id="2147484241" r:id="rId6"/>
    <p:sldLayoutId id="2147484474" r:id="rId7"/>
    <p:sldLayoutId id="2147484245" r:id="rId8"/>
    <p:sldLayoutId id="2147484247" r:id="rId9"/>
    <p:sldLayoutId id="2147484639" r:id="rId10"/>
    <p:sldLayoutId id="2147484603" r:id="rId11"/>
    <p:sldLayoutId id="2147484573" r:id="rId12"/>
    <p:sldLayoutId id="2147484606" r:id="rId13"/>
    <p:sldLayoutId id="2147484638" r:id="rId14"/>
    <p:sldLayoutId id="2147484249" r:id="rId15"/>
    <p:sldLayoutId id="2147484640" r:id="rId16"/>
    <p:sldLayoutId id="2147484582" r:id="rId17"/>
    <p:sldLayoutId id="2147484641" r:id="rId18"/>
    <p:sldLayoutId id="2147484584" r:id="rId19"/>
    <p:sldLayoutId id="2147484583" r:id="rId20"/>
    <p:sldLayoutId id="2147484256" r:id="rId21"/>
    <p:sldLayoutId id="2147484257" r:id="rId22"/>
    <p:sldLayoutId id="2147484585" r:id="rId23"/>
    <p:sldLayoutId id="2147484299" r:id="rId24"/>
    <p:sldLayoutId id="2147484263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 userDrawn="1">
          <p15:clr>
            <a:srgbClr val="C35EA4"/>
          </p15:clr>
        </p15:guide>
        <p15:guide id="17" pos="7313" userDrawn="1">
          <p15:clr>
            <a:srgbClr val="C35EA4"/>
          </p15:clr>
        </p15:guide>
        <p15:guide id="25" orient="horz" pos="369" userDrawn="1">
          <p15:clr>
            <a:srgbClr val="C35EA4"/>
          </p15:clr>
        </p15:guide>
        <p15:guide id="26" orient="horz" pos="3949" userDrawn="1">
          <p15:clr>
            <a:srgbClr val="C35EA4"/>
          </p15:clr>
        </p15:guide>
        <p15:guide id="27" orient="horz" pos="184" userDrawn="1">
          <p15:clr>
            <a:srgbClr val="A4A3A4"/>
          </p15:clr>
        </p15:guide>
        <p15:guide id="28" pos="185" userDrawn="1">
          <p15:clr>
            <a:srgbClr val="A4A3A4"/>
          </p15:clr>
        </p15:guide>
        <p15:guide id="29" orient="horz" pos="4135" userDrawn="1">
          <p15:clr>
            <a:srgbClr val="A4A3A4"/>
          </p15:clr>
        </p15:guide>
        <p15:guide id="30" pos="749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9576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43" r:id="rId1"/>
    <p:sldLayoutId id="2147484644" r:id="rId2"/>
    <p:sldLayoutId id="2147484645" r:id="rId3"/>
    <p:sldLayoutId id="2147484646" r:id="rId4"/>
    <p:sldLayoutId id="2147484650" r:id="rId5"/>
    <p:sldLayoutId id="2147484651" r:id="rId6"/>
    <p:sldLayoutId id="2147484652" r:id="rId7"/>
    <p:sldLayoutId id="2147484653" r:id="rId8"/>
    <p:sldLayoutId id="2147484654" r:id="rId9"/>
    <p:sldLayoutId id="2147484655" r:id="rId10"/>
    <p:sldLayoutId id="2147484656" r:id="rId11"/>
    <p:sldLayoutId id="2147484657" r:id="rId12"/>
    <p:sldLayoutId id="2147484658" r:id="rId13"/>
    <p:sldLayoutId id="2147484659" r:id="rId14"/>
    <p:sldLayoutId id="2147484660" r:id="rId15"/>
    <p:sldLayoutId id="2147484661" r:id="rId16"/>
    <p:sldLayoutId id="2147484662" r:id="rId17"/>
    <p:sldLayoutId id="2147484663" r:id="rId18"/>
    <p:sldLayoutId id="2147484664" r:id="rId19"/>
    <p:sldLayoutId id="2147484665" r:id="rId20"/>
    <p:sldLayoutId id="2147484666" r:id="rId21"/>
    <p:sldLayoutId id="2147484667" r:id="rId22"/>
    <p:sldLayoutId id="2147484668" r:id="rId23"/>
    <p:sldLayoutId id="2147484669" r:id="rId24"/>
    <p:sldLayoutId id="2147484670" r:id="rId2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5" imgW="378" imgH="377" progId="TCLayout.ActiveDocument.1">
                  <p:embed/>
                </p:oleObj>
              </mc:Choice>
              <mc:Fallback>
                <p:oleObj name="think-cell Slide" r:id="rId25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53713"/>
            <a:ext cx="11655840" cy="935463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348820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581" y="6356803"/>
            <a:ext cx="4114839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1095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74" r:id="rId1"/>
    <p:sldLayoutId id="2147484675" r:id="rId2"/>
    <p:sldLayoutId id="2147484676" r:id="rId3"/>
    <p:sldLayoutId id="2147484677" r:id="rId4"/>
    <p:sldLayoutId id="2147484678" r:id="rId5"/>
    <p:sldLayoutId id="2147484679" r:id="rId6"/>
    <p:sldLayoutId id="2147484680" r:id="rId7"/>
    <p:sldLayoutId id="2147484681" r:id="rId8"/>
    <p:sldLayoutId id="2147484682" r:id="rId9"/>
    <p:sldLayoutId id="2147484683" r:id="rId10"/>
    <p:sldLayoutId id="2147484684" r:id="rId11"/>
    <p:sldLayoutId id="2147484685" r:id="rId12"/>
    <p:sldLayoutId id="2147484686" r:id="rId13"/>
    <p:sldLayoutId id="2147484688" r:id="rId14"/>
    <p:sldLayoutId id="2147484689" r:id="rId15"/>
    <p:sldLayoutId id="2147484690" r:id="rId16"/>
    <p:sldLayoutId id="2147484691" r:id="rId17"/>
    <p:sldLayoutId id="2147484692" r:id="rId18"/>
    <p:sldLayoutId id="2147484693" r:id="rId19"/>
    <p:sldLayoutId id="2147484694" r:id="rId20"/>
    <p:sldLayoutId id="2147484695" r:id="rId21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>
          <a:ln w="3175">
            <a:noFill/>
          </a:ln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bg1"/>
              </a:gs>
              <a:gs pos="100000">
                <a:schemeClr val="bg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C35EA4"/>
          </p15:clr>
        </p15:guide>
        <p15:guide id="25" orient="horz" pos="163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orient="horz" pos="859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928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7" r:id="rId1"/>
    <p:sldLayoutId id="2147484698" r:id="rId2"/>
    <p:sldLayoutId id="2147484699" r:id="rId3"/>
    <p:sldLayoutId id="2147484700" r:id="rId4"/>
    <p:sldLayoutId id="2147484701" r:id="rId5"/>
    <p:sldLayoutId id="2147484702" r:id="rId6"/>
    <p:sldLayoutId id="2147484703" r:id="rId7"/>
    <p:sldLayoutId id="2147484704" r:id="rId8"/>
    <p:sldLayoutId id="2147484705" r:id="rId9"/>
    <p:sldLayoutId id="2147484706" r:id="rId10"/>
    <p:sldLayoutId id="2147484707" r:id="rId11"/>
    <p:sldLayoutId id="2147484708" r:id="rId12"/>
    <p:sldLayoutId id="2147484709" r:id="rId13"/>
    <p:sldLayoutId id="2147484710" r:id="rId14"/>
    <p:sldLayoutId id="2147484711" r:id="rId15"/>
    <p:sldLayoutId id="2147484712" r:id="rId16"/>
    <p:sldLayoutId id="2147484713" r:id="rId17"/>
    <p:sldLayoutId id="2147484714" r:id="rId18"/>
    <p:sldLayoutId id="2147484715" r:id="rId19"/>
    <p:sldLayoutId id="2147484716" r:id="rId20"/>
    <p:sldLayoutId id="2147484717" r:id="rId21"/>
    <p:sldLayoutId id="2147484718" r:id="rId22"/>
    <p:sldLayoutId id="2147484719" r:id="rId23"/>
    <p:sldLayoutId id="2147484720" r:id="rId24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help.kusto.windows.net/Samples" TargetMode="External"/><Relationship Id="rId1" Type="http://schemas.openxmlformats.org/officeDocument/2006/relationships/slideLayout" Target="../slideLayouts/slideLayout5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27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1F3E974-014C-4530-ADEB-3E44062E32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Joshua Weav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CEA3BF-857F-41CB-9B35-A13F71AA1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104" y="882479"/>
            <a:ext cx="8067760" cy="2334830"/>
          </a:xfrm>
        </p:spPr>
        <p:txBody>
          <a:bodyPr/>
          <a:lstStyle/>
          <a:p>
            <a:r>
              <a:rPr lang="en-US" dirty="0"/>
              <a:t>Oh Kusto You Didn’t! </a:t>
            </a:r>
            <a:r>
              <a:rPr lang="en-US" sz="4400" dirty="0"/>
              <a:t>(but probably should): Kusto Query Language 1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46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01A78B-E955-4B19-9C7A-21D0DEDAD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 to Kusto Data Explorer &amp; Python!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C5EFFF-6F1A-4A72-A8D3-9521E990E7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51029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09BFE5-E2AE-48A0-82D5-CC3B005BBD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345720"/>
            <a:ext cx="11653523" cy="3660489"/>
          </a:xfrm>
        </p:spPr>
        <p:txBody>
          <a:bodyPr/>
          <a:lstStyle/>
          <a:p>
            <a:r>
              <a:rPr lang="en-US" dirty="0"/>
              <a:t>Download Kusto Explorer and connect to sample database </a:t>
            </a:r>
          </a:p>
          <a:p>
            <a:r>
              <a:rPr lang="en-US" dirty="0"/>
              <a:t>About Kusto Query Language</a:t>
            </a:r>
          </a:p>
          <a:p>
            <a:r>
              <a:rPr lang="en-US" dirty="0"/>
              <a:t>Kusto Query Language (KQL) Basics</a:t>
            </a:r>
          </a:p>
          <a:p>
            <a:r>
              <a:rPr lang="en-US" dirty="0"/>
              <a:t>Joining data in KQL</a:t>
            </a:r>
          </a:p>
          <a:p>
            <a:r>
              <a:rPr lang="en-US" dirty="0"/>
              <a:t>Tips n’ Tricks for using KQL</a:t>
            </a:r>
          </a:p>
          <a:p>
            <a:r>
              <a:rPr lang="en-US" dirty="0"/>
              <a:t>Kusto in Python: Python Kusto SKD, </a:t>
            </a:r>
            <a:r>
              <a:rPr lang="en-US" dirty="0" err="1"/>
              <a:t>Kqlmagic</a:t>
            </a:r>
            <a:r>
              <a:rPr lang="en-US" dirty="0"/>
              <a:t> for </a:t>
            </a:r>
            <a:r>
              <a:rPr lang="en-US" dirty="0" err="1"/>
              <a:t>Jupyter</a:t>
            </a:r>
            <a:r>
              <a:rPr lang="en-US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84E3D3-96D6-43BF-B41B-9535129F5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</a:p>
        </p:txBody>
      </p:sp>
    </p:spTree>
    <p:extLst>
      <p:ext uri="{BB962C8B-B14F-4D97-AF65-F5344CB8AC3E}">
        <p14:creationId xmlns:p14="http://schemas.microsoft.com/office/powerpoint/2010/main" val="307855287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09BFE5-E2AE-48A0-82D5-CC3B005BBD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6374" y="1697056"/>
            <a:ext cx="8121576" cy="1162241"/>
          </a:xfrm>
        </p:spPr>
        <p:txBody>
          <a:bodyPr anchor="ctr"/>
          <a:lstStyle/>
          <a:p>
            <a:r>
              <a:rPr lang="en-US" dirty="0"/>
              <a:t>Not all capabilities of Kusto will be demonstrat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84E3D3-96D6-43BF-B41B-9535129F5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aimers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FE070E-E37C-4264-8D88-6C365AE8D246}"/>
              </a:ext>
            </a:extLst>
          </p:cNvPr>
          <p:cNvSpPr/>
          <p:nvPr/>
        </p:nvSpPr>
        <p:spPr>
          <a:xfrm>
            <a:off x="2146374" y="3708144"/>
            <a:ext cx="8121576" cy="106990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36145" indent="-336145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</a:pPr>
            <a:r>
              <a:rPr lang="en-US" sz="3529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rPr>
              <a:t>Content is introductory and not intended for an expert audience </a:t>
            </a:r>
          </a:p>
        </p:txBody>
      </p:sp>
      <p:sp>
        <p:nvSpPr>
          <p:cNvPr id="9" name="Freeform 36">
            <a:extLst>
              <a:ext uri="{FF2B5EF4-FFF2-40B4-BE49-F238E27FC236}">
                <a16:creationId xmlns:a16="http://schemas.microsoft.com/office/drawing/2014/main" id="{31C8CC50-722B-423A-8CCC-3C3799EEB841}"/>
              </a:ext>
            </a:extLst>
          </p:cNvPr>
          <p:cNvSpPr>
            <a:spLocks noEditPoints="1"/>
          </p:cNvSpPr>
          <p:nvPr/>
        </p:nvSpPr>
        <p:spPr bwMode="black">
          <a:xfrm>
            <a:off x="659165" y="3720929"/>
            <a:ext cx="1097280" cy="1097280"/>
          </a:xfrm>
          <a:custGeom>
            <a:avLst/>
            <a:gdLst>
              <a:gd name="T0" fmla="*/ 82 w 149"/>
              <a:gd name="T1" fmla="*/ 41 h 150"/>
              <a:gd name="T2" fmla="*/ 80 w 149"/>
              <a:gd name="T3" fmla="*/ 87 h 150"/>
              <a:gd name="T4" fmla="*/ 68 w 149"/>
              <a:gd name="T5" fmla="*/ 87 h 150"/>
              <a:gd name="T6" fmla="*/ 67 w 149"/>
              <a:gd name="T7" fmla="*/ 41 h 150"/>
              <a:gd name="T8" fmla="*/ 82 w 149"/>
              <a:gd name="T9" fmla="*/ 41 h 150"/>
              <a:gd name="T10" fmla="*/ 83 w 149"/>
              <a:gd name="T11" fmla="*/ 102 h 150"/>
              <a:gd name="T12" fmla="*/ 81 w 149"/>
              <a:gd name="T13" fmla="*/ 107 h 150"/>
              <a:gd name="T14" fmla="*/ 75 w 149"/>
              <a:gd name="T15" fmla="*/ 109 h 150"/>
              <a:gd name="T16" fmla="*/ 68 w 149"/>
              <a:gd name="T17" fmla="*/ 107 h 150"/>
              <a:gd name="T18" fmla="*/ 66 w 149"/>
              <a:gd name="T19" fmla="*/ 102 h 150"/>
              <a:gd name="T20" fmla="*/ 68 w 149"/>
              <a:gd name="T21" fmla="*/ 96 h 150"/>
              <a:gd name="T22" fmla="*/ 75 w 149"/>
              <a:gd name="T23" fmla="*/ 94 h 150"/>
              <a:gd name="T24" fmla="*/ 81 w 149"/>
              <a:gd name="T25" fmla="*/ 96 h 150"/>
              <a:gd name="T26" fmla="*/ 83 w 149"/>
              <a:gd name="T27" fmla="*/ 102 h 150"/>
              <a:gd name="T28" fmla="*/ 74 w 149"/>
              <a:gd name="T29" fmla="*/ 10 h 150"/>
              <a:gd name="T30" fmla="*/ 9 w 149"/>
              <a:gd name="T31" fmla="*/ 75 h 150"/>
              <a:gd name="T32" fmla="*/ 74 w 149"/>
              <a:gd name="T33" fmla="*/ 140 h 150"/>
              <a:gd name="T34" fmla="*/ 140 w 149"/>
              <a:gd name="T35" fmla="*/ 75 h 150"/>
              <a:gd name="T36" fmla="*/ 74 w 149"/>
              <a:gd name="T37" fmla="*/ 10 h 150"/>
              <a:gd name="T38" fmla="*/ 74 w 149"/>
              <a:gd name="T39" fmla="*/ 0 h 150"/>
              <a:gd name="T40" fmla="*/ 149 w 149"/>
              <a:gd name="T41" fmla="*/ 75 h 150"/>
              <a:gd name="T42" fmla="*/ 74 w 149"/>
              <a:gd name="T43" fmla="*/ 150 h 150"/>
              <a:gd name="T44" fmla="*/ 0 w 149"/>
              <a:gd name="T45" fmla="*/ 75 h 150"/>
              <a:gd name="T46" fmla="*/ 74 w 149"/>
              <a:gd name="T47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9" h="150">
                <a:moveTo>
                  <a:pt x="82" y="41"/>
                </a:moveTo>
                <a:cubicBezTo>
                  <a:pt x="80" y="87"/>
                  <a:pt x="80" y="87"/>
                  <a:pt x="80" y="87"/>
                </a:cubicBezTo>
                <a:cubicBezTo>
                  <a:pt x="68" y="87"/>
                  <a:pt x="68" y="87"/>
                  <a:pt x="68" y="87"/>
                </a:cubicBezTo>
                <a:cubicBezTo>
                  <a:pt x="67" y="41"/>
                  <a:pt x="67" y="41"/>
                  <a:pt x="67" y="41"/>
                </a:cubicBezTo>
                <a:lnTo>
                  <a:pt x="82" y="41"/>
                </a:lnTo>
                <a:close/>
                <a:moveTo>
                  <a:pt x="83" y="102"/>
                </a:moveTo>
                <a:cubicBezTo>
                  <a:pt x="83" y="104"/>
                  <a:pt x="82" y="106"/>
                  <a:pt x="81" y="107"/>
                </a:cubicBezTo>
                <a:cubicBezTo>
                  <a:pt x="79" y="109"/>
                  <a:pt x="77" y="109"/>
                  <a:pt x="75" y="109"/>
                </a:cubicBezTo>
                <a:cubicBezTo>
                  <a:pt x="72" y="109"/>
                  <a:pt x="70" y="109"/>
                  <a:pt x="68" y="107"/>
                </a:cubicBezTo>
                <a:cubicBezTo>
                  <a:pt x="67" y="105"/>
                  <a:pt x="66" y="104"/>
                  <a:pt x="66" y="102"/>
                </a:cubicBezTo>
                <a:cubicBezTo>
                  <a:pt x="66" y="99"/>
                  <a:pt x="67" y="97"/>
                  <a:pt x="68" y="96"/>
                </a:cubicBezTo>
                <a:cubicBezTo>
                  <a:pt x="70" y="94"/>
                  <a:pt x="72" y="94"/>
                  <a:pt x="75" y="94"/>
                </a:cubicBezTo>
                <a:cubicBezTo>
                  <a:pt x="77" y="94"/>
                  <a:pt x="79" y="94"/>
                  <a:pt x="81" y="96"/>
                </a:cubicBezTo>
                <a:cubicBezTo>
                  <a:pt x="82" y="97"/>
                  <a:pt x="83" y="99"/>
                  <a:pt x="83" y="102"/>
                </a:cubicBezTo>
                <a:moveTo>
                  <a:pt x="74" y="10"/>
                </a:moveTo>
                <a:cubicBezTo>
                  <a:pt x="38" y="10"/>
                  <a:pt x="9" y="39"/>
                  <a:pt x="9" y="75"/>
                </a:cubicBezTo>
                <a:cubicBezTo>
                  <a:pt x="9" y="111"/>
                  <a:pt x="38" y="140"/>
                  <a:pt x="74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10"/>
                  <a:pt x="74" y="10"/>
                </a:cubicBezTo>
                <a:moveTo>
                  <a:pt x="74" y="0"/>
                </a:moveTo>
                <a:cubicBezTo>
                  <a:pt x="116" y="0"/>
                  <a:pt x="149" y="34"/>
                  <a:pt x="149" y="75"/>
                </a:cubicBezTo>
                <a:cubicBezTo>
                  <a:pt x="149" y="116"/>
                  <a:pt x="116" y="150"/>
                  <a:pt x="74" y="150"/>
                </a:cubicBezTo>
                <a:cubicBezTo>
                  <a:pt x="33" y="150"/>
                  <a:pt x="0" y="116"/>
                  <a:pt x="0" y="75"/>
                </a:cubicBezTo>
                <a:cubicBezTo>
                  <a:pt x="0" y="34"/>
                  <a:pt x="33" y="0"/>
                  <a:pt x="74" y="0"/>
                </a:cubicBezTo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36">
            <a:extLst>
              <a:ext uri="{FF2B5EF4-FFF2-40B4-BE49-F238E27FC236}">
                <a16:creationId xmlns:a16="http://schemas.microsoft.com/office/drawing/2014/main" id="{B69DCAA4-61A7-4555-B000-F82DC08109FC}"/>
              </a:ext>
            </a:extLst>
          </p:cNvPr>
          <p:cNvSpPr>
            <a:spLocks noEditPoints="1"/>
          </p:cNvSpPr>
          <p:nvPr/>
        </p:nvSpPr>
        <p:spPr bwMode="black">
          <a:xfrm>
            <a:off x="659165" y="1729536"/>
            <a:ext cx="1097280" cy="1097280"/>
          </a:xfrm>
          <a:custGeom>
            <a:avLst/>
            <a:gdLst>
              <a:gd name="T0" fmla="*/ 82 w 149"/>
              <a:gd name="T1" fmla="*/ 41 h 150"/>
              <a:gd name="T2" fmla="*/ 80 w 149"/>
              <a:gd name="T3" fmla="*/ 87 h 150"/>
              <a:gd name="T4" fmla="*/ 68 w 149"/>
              <a:gd name="T5" fmla="*/ 87 h 150"/>
              <a:gd name="T6" fmla="*/ 67 w 149"/>
              <a:gd name="T7" fmla="*/ 41 h 150"/>
              <a:gd name="T8" fmla="*/ 82 w 149"/>
              <a:gd name="T9" fmla="*/ 41 h 150"/>
              <a:gd name="T10" fmla="*/ 83 w 149"/>
              <a:gd name="T11" fmla="*/ 102 h 150"/>
              <a:gd name="T12" fmla="*/ 81 w 149"/>
              <a:gd name="T13" fmla="*/ 107 h 150"/>
              <a:gd name="T14" fmla="*/ 75 w 149"/>
              <a:gd name="T15" fmla="*/ 109 h 150"/>
              <a:gd name="T16" fmla="*/ 68 w 149"/>
              <a:gd name="T17" fmla="*/ 107 h 150"/>
              <a:gd name="T18" fmla="*/ 66 w 149"/>
              <a:gd name="T19" fmla="*/ 102 h 150"/>
              <a:gd name="T20" fmla="*/ 68 w 149"/>
              <a:gd name="T21" fmla="*/ 96 h 150"/>
              <a:gd name="T22" fmla="*/ 75 w 149"/>
              <a:gd name="T23" fmla="*/ 94 h 150"/>
              <a:gd name="T24" fmla="*/ 81 w 149"/>
              <a:gd name="T25" fmla="*/ 96 h 150"/>
              <a:gd name="T26" fmla="*/ 83 w 149"/>
              <a:gd name="T27" fmla="*/ 102 h 150"/>
              <a:gd name="T28" fmla="*/ 74 w 149"/>
              <a:gd name="T29" fmla="*/ 10 h 150"/>
              <a:gd name="T30" fmla="*/ 9 w 149"/>
              <a:gd name="T31" fmla="*/ 75 h 150"/>
              <a:gd name="T32" fmla="*/ 74 w 149"/>
              <a:gd name="T33" fmla="*/ 140 h 150"/>
              <a:gd name="T34" fmla="*/ 140 w 149"/>
              <a:gd name="T35" fmla="*/ 75 h 150"/>
              <a:gd name="T36" fmla="*/ 74 w 149"/>
              <a:gd name="T37" fmla="*/ 10 h 150"/>
              <a:gd name="T38" fmla="*/ 74 w 149"/>
              <a:gd name="T39" fmla="*/ 0 h 150"/>
              <a:gd name="T40" fmla="*/ 149 w 149"/>
              <a:gd name="T41" fmla="*/ 75 h 150"/>
              <a:gd name="T42" fmla="*/ 74 w 149"/>
              <a:gd name="T43" fmla="*/ 150 h 150"/>
              <a:gd name="T44" fmla="*/ 0 w 149"/>
              <a:gd name="T45" fmla="*/ 75 h 150"/>
              <a:gd name="T46" fmla="*/ 74 w 149"/>
              <a:gd name="T47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9" h="150">
                <a:moveTo>
                  <a:pt x="82" y="41"/>
                </a:moveTo>
                <a:cubicBezTo>
                  <a:pt x="80" y="87"/>
                  <a:pt x="80" y="87"/>
                  <a:pt x="80" y="87"/>
                </a:cubicBezTo>
                <a:cubicBezTo>
                  <a:pt x="68" y="87"/>
                  <a:pt x="68" y="87"/>
                  <a:pt x="68" y="87"/>
                </a:cubicBezTo>
                <a:cubicBezTo>
                  <a:pt x="67" y="41"/>
                  <a:pt x="67" y="41"/>
                  <a:pt x="67" y="41"/>
                </a:cubicBezTo>
                <a:lnTo>
                  <a:pt x="82" y="41"/>
                </a:lnTo>
                <a:close/>
                <a:moveTo>
                  <a:pt x="83" y="102"/>
                </a:moveTo>
                <a:cubicBezTo>
                  <a:pt x="83" y="104"/>
                  <a:pt x="82" y="106"/>
                  <a:pt x="81" y="107"/>
                </a:cubicBezTo>
                <a:cubicBezTo>
                  <a:pt x="79" y="109"/>
                  <a:pt x="77" y="109"/>
                  <a:pt x="75" y="109"/>
                </a:cubicBezTo>
                <a:cubicBezTo>
                  <a:pt x="72" y="109"/>
                  <a:pt x="70" y="109"/>
                  <a:pt x="68" y="107"/>
                </a:cubicBezTo>
                <a:cubicBezTo>
                  <a:pt x="67" y="105"/>
                  <a:pt x="66" y="104"/>
                  <a:pt x="66" y="102"/>
                </a:cubicBezTo>
                <a:cubicBezTo>
                  <a:pt x="66" y="99"/>
                  <a:pt x="67" y="97"/>
                  <a:pt x="68" y="96"/>
                </a:cubicBezTo>
                <a:cubicBezTo>
                  <a:pt x="70" y="94"/>
                  <a:pt x="72" y="94"/>
                  <a:pt x="75" y="94"/>
                </a:cubicBezTo>
                <a:cubicBezTo>
                  <a:pt x="77" y="94"/>
                  <a:pt x="79" y="94"/>
                  <a:pt x="81" y="96"/>
                </a:cubicBezTo>
                <a:cubicBezTo>
                  <a:pt x="82" y="97"/>
                  <a:pt x="83" y="99"/>
                  <a:pt x="83" y="102"/>
                </a:cubicBezTo>
                <a:moveTo>
                  <a:pt x="74" y="10"/>
                </a:moveTo>
                <a:cubicBezTo>
                  <a:pt x="38" y="10"/>
                  <a:pt x="9" y="39"/>
                  <a:pt x="9" y="75"/>
                </a:cubicBezTo>
                <a:cubicBezTo>
                  <a:pt x="9" y="111"/>
                  <a:pt x="38" y="140"/>
                  <a:pt x="74" y="140"/>
                </a:cubicBezTo>
                <a:cubicBezTo>
                  <a:pt x="111" y="140"/>
                  <a:pt x="140" y="111"/>
                  <a:pt x="140" y="75"/>
                </a:cubicBezTo>
                <a:cubicBezTo>
                  <a:pt x="140" y="39"/>
                  <a:pt x="111" y="10"/>
                  <a:pt x="74" y="10"/>
                </a:cubicBezTo>
                <a:moveTo>
                  <a:pt x="74" y="0"/>
                </a:moveTo>
                <a:cubicBezTo>
                  <a:pt x="116" y="0"/>
                  <a:pt x="149" y="34"/>
                  <a:pt x="149" y="75"/>
                </a:cubicBezTo>
                <a:cubicBezTo>
                  <a:pt x="149" y="116"/>
                  <a:pt x="116" y="150"/>
                  <a:pt x="74" y="150"/>
                </a:cubicBezTo>
                <a:cubicBezTo>
                  <a:pt x="33" y="150"/>
                  <a:pt x="0" y="116"/>
                  <a:pt x="0" y="75"/>
                </a:cubicBezTo>
                <a:cubicBezTo>
                  <a:pt x="0" y="34"/>
                  <a:pt x="33" y="0"/>
                  <a:pt x="74" y="0"/>
                </a:cubicBezTo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93433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09BFE5-E2AE-48A0-82D5-CC3B005BBD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75193" y="3703982"/>
            <a:ext cx="3388173" cy="1162241"/>
          </a:xfrm>
        </p:spPr>
        <p:txBody>
          <a:bodyPr/>
          <a:lstStyle/>
          <a:p>
            <a:pPr marL="0" indent="0" algn="ctr">
              <a:spcBef>
                <a:spcPts val="0"/>
              </a:spcBef>
              <a:spcAft>
                <a:spcPts val="1800"/>
              </a:spcAft>
              <a:buNone/>
            </a:pPr>
            <a:r>
              <a:rPr lang="en-US" b="1" dirty="0"/>
              <a:t>Kusto handles lots of data. 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84E3D3-96D6-43BF-B41B-9535129F5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53713"/>
            <a:ext cx="11655840" cy="935463"/>
          </a:xfrm>
        </p:spPr>
        <p:txBody>
          <a:bodyPr/>
          <a:lstStyle/>
          <a:p>
            <a:r>
              <a:rPr lang="en-US" dirty="0"/>
              <a:t>Why learn Kusto Query Language?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C9090E7-9781-4AEF-9AD3-DCAAF885262B}"/>
              </a:ext>
            </a:extLst>
          </p:cNvPr>
          <p:cNvGrpSpPr/>
          <p:nvPr/>
        </p:nvGrpSpPr>
        <p:grpSpPr>
          <a:xfrm rot="16200000">
            <a:off x="1639642" y="2170695"/>
            <a:ext cx="1496202" cy="1496202"/>
            <a:chOff x="132696" y="989742"/>
            <a:chExt cx="1828800" cy="18288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593C0A4-B1CA-4A26-8097-FA8748D602B4}"/>
                </a:ext>
              </a:extLst>
            </p:cNvPr>
            <p:cNvSpPr/>
            <p:nvPr/>
          </p:nvSpPr>
          <p:spPr bwMode="auto">
            <a:xfrm rot="5400000">
              <a:off x="132696" y="989742"/>
              <a:ext cx="1828800" cy="182880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arrow_24" title="Icon of an arrow pointing out of a box">
              <a:extLst>
                <a:ext uri="{FF2B5EF4-FFF2-40B4-BE49-F238E27FC236}">
                  <a16:creationId xmlns:a16="http://schemas.microsoft.com/office/drawing/2014/main" id="{C1EEDD5E-DEAE-47DF-8DBB-97E6CFBAACA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2880" y="1355502"/>
              <a:ext cx="1436768" cy="1097280"/>
            </a:xfrm>
            <a:custGeom>
              <a:avLst/>
              <a:gdLst>
                <a:gd name="T0" fmla="*/ 55 w 237"/>
                <a:gd name="T1" fmla="*/ 91 h 181"/>
                <a:gd name="T2" fmla="*/ 237 w 237"/>
                <a:gd name="T3" fmla="*/ 91 h 181"/>
                <a:gd name="T4" fmla="*/ 201 w 237"/>
                <a:gd name="T5" fmla="*/ 134 h 181"/>
                <a:gd name="T6" fmla="*/ 237 w 237"/>
                <a:gd name="T7" fmla="*/ 91 h 181"/>
                <a:gd name="T8" fmla="*/ 201 w 237"/>
                <a:gd name="T9" fmla="*/ 47 h 181"/>
                <a:gd name="T10" fmla="*/ 0 w 237"/>
                <a:gd name="T11" fmla="*/ 0 h 181"/>
                <a:gd name="T12" fmla="*/ 0 w 237"/>
                <a:gd name="T13" fmla="*/ 181 h 181"/>
                <a:gd name="T14" fmla="*/ 149 w 237"/>
                <a:gd name="T15" fmla="*/ 181 h 181"/>
                <a:gd name="T16" fmla="*/ 149 w 237"/>
                <a:gd name="T17" fmla="*/ 0 h 181"/>
                <a:gd name="T18" fmla="*/ 0 w 237"/>
                <a:gd name="T19" fmla="*/ 0 h 181"/>
                <a:gd name="T20" fmla="*/ 0 w 237"/>
                <a:gd name="T2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181">
                  <a:moveTo>
                    <a:pt x="55" y="91"/>
                  </a:moveTo>
                  <a:lnTo>
                    <a:pt x="237" y="91"/>
                  </a:lnTo>
                  <a:moveTo>
                    <a:pt x="201" y="134"/>
                  </a:moveTo>
                  <a:lnTo>
                    <a:pt x="237" y="91"/>
                  </a:lnTo>
                  <a:lnTo>
                    <a:pt x="201" y="47"/>
                  </a:lnTo>
                  <a:moveTo>
                    <a:pt x="0" y="0"/>
                  </a:moveTo>
                  <a:lnTo>
                    <a:pt x="0" y="181"/>
                  </a:lnTo>
                  <a:lnTo>
                    <a:pt x="149" y="181"/>
                  </a:lnTo>
                  <a:lnTo>
                    <a:pt x="149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539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DA86D1C7-274D-4502-970A-D73451E90BC1}"/>
              </a:ext>
            </a:extLst>
          </p:cNvPr>
          <p:cNvSpPr/>
          <p:nvPr/>
        </p:nvSpPr>
        <p:spPr bwMode="auto">
          <a:xfrm>
            <a:off x="4921178" y="2150922"/>
            <a:ext cx="1496202" cy="149620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D88080-E101-4F40-BE28-E4BA91D88F15}"/>
              </a:ext>
            </a:extLst>
          </p:cNvPr>
          <p:cNvSpPr/>
          <p:nvPr/>
        </p:nvSpPr>
        <p:spPr bwMode="auto">
          <a:xfrm rot="5400000">
            <a:off x="8737634" y="2198126"/>
            <a:ext cx="1546238" cy="154623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19641A-2F9C-42CB-BCC2-E79ED9BF2DEE}"/>
              </a:ext>
            </a:extLst>
          </p:cNvPr>
          <p:cNvSpPr/>
          <p:nvPr/>
        </p:nvSpPr>
        <p:spPr>
          <a:xfrm>
            <a:off x="944840" y="3829983"/>
            <a:ext cx="2885807" cy="1069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1800"/>
              </a:spcAft>
              <a:buSzPct val="90000"/>
            </a:pPr>
            <a:r>
              <a:rPr lang="en-US" sz="3529" b="1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rPr>
              <a:t>Kusto is on the rise. </a:t>
            </a:r>
            <a:endParaRPr lang="en-US" sz="3529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latin typeface="+mj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16988EB-3B3A-49CB-BF1D-CEC6FCC8DF3C}"/>
              </a:ext>
            </a:extLst>
          </p:cNvPr>
          <p:cNvSpPr/>
          <p:nvPr/>
        </p:nvSpPr>
        <p:spPr>
          <a:xfrm>
            <a:off x="7816667" y="3744364"/>
            <a:ext cx="3388173" cy="1069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1800"/>
              </a:spcAft>
              <a:buSzPct val="90000"/>
            </a:pPr>
            <a:r>
              <a:rPr lang="en-US" sz="3529" b="1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rPr>
              <a:t>Kusto useful for </a:t>
            </a:r>
            <a:r>
              <a:rPr lang="en-US" sz="3529" b="1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rPr>
              <a:t>data science.</a:t>
            </a:r>
            <a:r>
              <a:rPr lang="en-US" sz="3529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rPr>
              <a:t> </a:t>
            </a:r>
          </a:p>
        </p:txBody>
      </p:sp>
      <p:pic>
        <p:nvPicPr>
          <p:cNvPr id="6" name="Graphic 5" descr="Bar chart">
            <a:extLst>
              <a:ext uri="{FF2B5EF4-FFF2-40B4-BE49-F238E27FC236}">
                <a16:creationId xmlns:a16="http://schemas.microsoft.com/office/drawing/2014/main" id="{84502442-CFEF-46F7-8484-6C998028DD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56858" y="2365510"/>
            <a:ext cx="1095848" cy="1095848"/>
          </a:xfrm>
          <a:prstGeom prst="rect">
            <a:avLst/>
          </a:prstGeom>
        </p:spPr>
      </p:pic>
      <p:pic>
        <p:nvPicPr>
          <p:cNvPr id="18" name="Graphic 17" descr="Cloud Computing">
            <a:extLst>
              <a:ext uri="{FF2B5EF4-FFF2-40B4-BE49-F238E27FC236}">
                <a16:creationId xmlns:a16="http://schemas.microsoft.com/office/drawing/2014/main" id="{6BC2ECE7-B942-4EC1-B8E5-F14FC9EA45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42400" y="2386844"/>
            <a:ext cx="1111952" cy="1111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54514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61870E-F5DC-44D6-94D1-13482F42C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1. Getting started with Kusto</a:t>
            </a:r>
          </a:p>
        </p:txBody>
      </p:sp>
    </p:spTree>
    <p:extLst>
      <p:ext uri="{BB962C8B-B14F-4D97-AF65-F5344CB8AC3E}">
        <p14:creationId xmlns:p14="http://schemas.microsoft.com/office/powerpoint/2010/main" val="50106545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BA0B30-3F56-4579-8AF1-0F323BBE775D}"/>
              </a:ext>
            </a:extLst>
          </p:cNvPr>
          <p:cNvSpPr/>
          <p:nvPr/>
        </p:nvSpPr>
        <p:spPr bwMode="auto">
          <a:xfrm>
            <a:off x="266920" y="1189176"/>
            <a:ext cx="1828800" cy="18288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FEC256A-D568-4BB9-A284-09AC9B557B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8645" y="1522455"/>
            <a:ext cx="10499927" cy="190090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ownload Kusto Explorer with sample database: </a:t>
            </a:r>
            <a:r>
              <a:rPr lang="en-US" dirty="0">
                <a:hlinkClick r:id="rId2"/>
              </a:rPr>
              <a:t>https://help.kusto.windows.net/Samples</a:t>
            </a:r>
            <a:endParaRPr lang="en-US" dirty="0"/>
          </a:p>
          <a:p>
            <a:pPr marL="0" indent="0">
              <a:buNone/>
            </a:pPr>
            <a:r>
              <a:rPr lang="en-US" sz="2400" dirty="0"/>
              <a:t>If you already have Kusto connect to the Samples Cluster: https://help.Kusto.windows.ne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F15358-A230-47FA-8EE3-3449A5A63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wnload and Install Kusto and Sample Database</a:t>
            </a:r>
          </a:p>
        </p:txBody>
      </p:sp>
      <p:sp>
        <p:nvSpPr>
          <p:cNvPr id="4" name="Browser_3" title="Icon of a browser window with an arrow pointing from the outside to the center">
            <a:extLst>
              <a:ext uri="{FF2B5EF4-FFF2-40B4-BE49-F238E27FC236}">
                <a16:creationId xmlns:a16="http://schemas.microsoft.com/office/drawing/2014/main" id="{DEF5BACC-8A7B-4918-A01B-954F14FC651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70231" y="1532075"/>
            <a:ext cx="1153597" cy="1097280"/>
          </a:xfrm>
          <a:custGeom>
            <a:avLst/>
            <a:gdLst>
              <a:gd name="T0" fmla="*/ 130 w 335"/>
              <a:gd name="T1" fmla="*/ 33 h 318"/>
              <a:gd name="T2" fmla="*/ 335 w 335"/>
              <a:gd name="T3" fmla="*/ 33 h 318"/>
              <a:gd name="T4" fmla="*/ 335 w 335"/>
              <a:gd name="T5" fmla="*/ 318 h 318"/>
              <a:gd name="T6" fmla="*/ 0 w 335"/>
              <a:gd name="T7" fmla="*/ 318 h 318"/>
              <a:gd name="T8" fmla="*/ 0 w 335"/>
              <a:gd name="T9" fmla="*/ 33 h 318"/>
              <a:gd name="T10" fmla="*/ 0 w 335"/>
              <a:gd name="T11" fmla="*/ 33 h 318"/>
              <a:gd name="T12" fmla="*/ 71 w 335"/>
              <a:gd name="T13" fmla="*/ 33 h 318"/>
              <a:gd name="T14" fmla="*/ 130 w 335"/>
              <a:gd name="T15" fmla="*/ 97 h 318"/>
              <a:gd name="T16" fmla="*/ 335 w 335"/>
              <a:gd name="T17" fmla="*/ 97 h 318"/>
              <a:gd name="T18" fmla="*/ 0 w 335"/>
              <a:gd name="T19" fmla="*/ 97 h 318"/>
              <a:gd name="T20" fmla="*/ 67 w 335"/>
              <a:gd name="T21" fmla="*/ 97 h 318"/>
              <a:gd name="T22" fmla="*/ 293 w 335"/>
              <a:gd name="T23" fmla="*/ 69 h 318"/>
              <a:gd name="T24" fmla="*/ 298 w 335"/>
              <a:gd name="T25" fmla="*/ 64 h 318"/>
              <a:gd name="T26" fmla="*/ 293 w 335"/>
              <a:gd name="T27" fmla="*/ 60 h 318"/>
              <a:gd name="T28" fmla="*/ 289 w 335"/>
              <a:gd name="T29" fmla="*/ 64 h 318"/>
              <a:gd name="T30" fmla="*/ 293 w 335"/>
              <a:gd name="T31" fmla="*/ 69 h 318"/>
              <a:gd name="T32" fmla="*/ 240 w 335"/>
              <a:gd name="T33" fmla="*/ 69 h 318"/>
              <a:gd name="T34" fmla="*/ 245 w 335"/>
              <a:gd name="T35" fmla="*/ 64 h 318"/>
              <a:gd name="T36" fmla="*/ 240 w 335"/>
              <a:gd name="T37" fmla="*/ 60 h 318"/>
              <a:gd name="T38" fmla="*/ 235 w 335"/>
              <a:gd name="T39" fmla="*/ 64 h 318"/>
              <a:gd name="T40" fmla="*/ 240 w 335"/>
              <a:gd name="T41" fmla="*/ 69 h 318"/>
              <a:gd name="T42" fmla="*/ 187 w 335"/>
              <a:gd name="T43" fmla="*/ 69 h 318"/>
              <a:gd name="T44" fmla="*/ 192 w 335"/>
              <a:gd name="T45" fmla="*/ 64 h 318"/>
              <a:gd name="T46" fmla="*/ 187 w 335"/>
              <a:gd name="T47" fmla="*/ 60 h 318"/>
              <a:gd name="T48" fmla="*/ 182 w 335"/>
              <a:gd name="T49" fmla="*/ 64 h 318"/>
              <a:gd name="T50" fmla="*/ 187 w 335"/>
              <a:gd name="T51" fmla="*/ 69 h 318"/>
              <a:gd name="T52" fmla="*/ 49 w 335"/>
              <a:gd name="T53" fmla="*/ 190 h 318"/>
              <a:gd name="T54" fmla="*/ 100 w 335"/>
              <a:gd name="T55" fmla="*/ 240 h 318"/>
              <a:gd name="T56" fmla="*/ 151 w 335"/>
              <a:gd name="T57" fmla="*/ 190 h 318"/>
              <a:gd name="T58" fmla="*/ 100 w 335"/>
              <a:gd name="T59" fmla="*/ 0 h 318"/>
              <a:gd name="T60" fmla="*/ 100 w 335"/>
              <a:gd name="T61" fmla="*/ 240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35" h="318">
                <a:moveTo>
                  <a:pt x="130" y="33"/>
                </a:moveTo>
                <a:cubicBezTo>
                  <a:pt x="335" y="33"/>
                  <a:pt x="335" y="33"/>
                  <a:pt x="335" y="33"/>
                </a:cubicBezTo>
                <a:cubicBezTo>
                  <a:pt x="335" y="318"/>
                  <a:pt x="335" y="318"/>
                  <a:pt x="335" y="318"/>
                </a:cubicBezTo>
                <a:cubicBezTo>
                  <a:pt x="0" y="318"/>
                  <a:pt x="0" y="318"/>
                  <a:pt x="0" y="318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3"/>
                  <a:pt x="0" y="33"/>
                  <a:pt x="0" y="33"/>
                </a:cubicBezTo>
                <a:cubicBezTo>
                  <a:pt x="71" y="33"/>
                  <a:pt x="71" y="33"/>
                  <a:pt x="71" y="33"/>
                </a:cubicBezTo>
                <a:moveTo>
                  <a:pt x="130" y="97"/>
                </a:moveTo>
                <a:cubicBezTo>
                  <a:pt x="335" y="97"/>
                  <a:pt x="335" y="97"/>
                  <a:pt x="335" y="97"/>
                </a:cubicBezTo>
                <a:moveTo>
                  <a:pt x="0" y="97"/>
                </a:moveTo>
                <a:cubicBezTo>
                  <a:pt x="67" y="97"/>
                  <a:pt x="67" y="97"/>
                  <a:pt x="67" y="97"/>
                </a:cubicBezTo>
                <a:moveTo>
                  <a:pt x="293" y="69"/>
                </a:moveTo>
                <a:cubicBezTo>
                  <a:pt x="296" y="69"/>
                  <a:pt x="298" y="67"/>
                  <a:pt x="298" y="64"/>
                </a:cubicBezTo>
                <a:cubicBezTo>
                  <a:pt x="298" y="62"/>
                  <a:pt x="296" y="60"/>
                  <a:pt x="293" y="60"/>
                </a:cubicBezTo>
                <a:cubicBezTo>
                  <a:pt x="291" y="60"/>
                  <a:pt x="289" y="62"/>
                  <a:pt x="289" y="64"/>
                </a:cubicBezTo>
                <a:cubicBezTo>
                  <a:pt x="289" y="67"/>
                  <a:pt x="291" y="69"/>
                  <a:pt x="293" y="69"/>
                </a:cubicBezTo>
                <a:close/>
                <a:moveTo>
                  <a:pt x="240" y="69"/>
                </a:moveTo>
                <a:cubicBezTo>
                  <a:pt x="243" y="69"/>
                  <a:pt x="245" y="67"/>
                  <a:pt x="245" y="64"/>
                </a:cubicBezTo>
                <a:cubicBezTo>
                  <a:pt x="245" y="62"/>
                  <a:pt x="243" y="60"/>
                  <a:pt x="240" y="60"/>
                </a:cubicBezTo>
                <a:cubicBezTo>
                  <a:pt x="238" y="60"/>
                  <a:pt x="235" y="62"/>
                  <a:pt x="235" y="64"/>
                </a:cubicBezTo>
                <a:cubicBezTo>
                  <a:pt x="235" y="67"/>
                  <a:pt x="238" y="69"/>
                  <a:pt x="240" y="69"/>
                </a:cubicBezTo>
                <a:close/>
                <a:moveTo>
                  <a:pt x="187" y="69"/>
                </a:moveTo>
                <a:cubicBezTo>
                  <a:pt x="189" y="69"/>
                  <a:pt x="192" y="67"/>
                  <a:pt x="192" y="64"/>
                </a:cubicBezTo>
                <a:cubicBezTo>
                  <a:pt x="192" y="62"/>
                  <a:pt x="189" y="60"/>
                  <a:pt x="187" y="60"/>
                </a:cubicBezTo>
                <a:cubicBezTo>
                  <a:pt x="184" y="60"/>
                  <a:pt x="182" y="62"/>
                  <a:pt x="182" y="64"/>
                </a:cubicBezTo>
                <a:cubicBezTo>
                  <a:pt x="182" y="67"/>
                  <a:pt x="184" y="69"/>
                  <a:pt x="187" y="69"/>
                </a:cubicBezTo>
                <a:close/>
                <a:moveTo>
                  <a:pt x="49" y="190"/>
                </a:moveTo>
                <a:cubicBezTo>
                  <a:pt x="100" y="240"/>
                  <a:pt x="100" y="240"/>
                  <a:pt x="100" y="240"/>
                </a:cubicBezTo>
                <a:cubicBezTo>
                  <a:pt x="151" y="190"/>
                  <a:pt x="151" y="190"/>
                  <a:pt x="151" y="190"/>
                </a:cubicBezTo>
                <a:moveTo>
                  <a:pt x="100" y="0"/>
                </a:moveTo>
                <a:cubicBezTo>
                  <a:pt x="100" y="240"/>
                  <a:pt x="100" y="240"/>
                  <a:pt x="100" y="240"/>
                </a:cubicBezTo>
              </a:path>
            </a:pathLst>
          </a:custGeom>
          <a:noFill/>
          <a:ln w="412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76700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FEC256A-D568-4BB9-A284-09AC9B557B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3942080"/>
            <a:ext cx="3524125" cy="1071062"/>
          </a:xfrm>
        </p:spPr>
        <p:txBody>
          <a:bodyPr/>
          <a:lstStyle/>
          <a:p>
            <a:pPr marL="0" indent="0" algn="ctr">
              <a:buNone/>
            </a:pPr>
            <a:r>
              <a:rPr lang="en-US" sz="3200" dirty="0"/>
              <a:t>Working with data at sca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F15358-A230-47FA-8EE3-3449A5A63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40" y="253713"/>
            <a:ext cx="11655840" cy="935463"/>
          </a:xfrm>
        </p:spPr>
        <p:txBody>
          <a:bodyPr/>
          <a:lstStyle/>
          <a:p>
            <a:r>
              <a:rPr lang="en-US" sz="3600" dirty="0"/>
              <a:t>Step 2. Get familiar with Kusto Query Language (KQL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1D8F06F-CA09-438C-8CE6-86914B273C5B}"/>
              </a:ext>
            </a:extLst>
          </p:cNvPr>
          <p:cNvGrpSpPr/>
          <p:nvPr/>
        </p:nvGrpSpPr>
        <p:grpSpPr>
          <a:xfrm>
            <a:off x="1116902" y="1849560"/>
            <a:ext cx="1828800" cy="1828800"/>
            <a:chOff x="75739" y="1066803"/>
            <a:chExt cx="1828800" cy="18288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71D3EEF-2E56-4489-8283-8C6AD1C9BF5E}"/>
                </a:ext>
              </a:extLst>
            </p:cNvPr>
            <p:cNvSpPr/>
            <p:nvPr/>
          </p:nvSpPr>
          <p:spPr bwMode="auto">
            <a:xfrm>
              <a:off x="75739" y="1066803"/>
              <a:ext cx="1828800" cy="182880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" name="Business applications" title="Icon of a chart showing three peaks that get higher in succession, a dotted arrow line points forward and up">
              <a:extLst>
                <a:ext uri="{FF2B5EF4-FFF2-40B4-BE49-F238E27FC236}">
                  <a16:creationId xmlns:a16="http://schemas.microsoft.com/office/drawing/2014/main" id="{9F26A228-B182-4720-885D-2E4035475AA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94190" y="1246326"/>
              <a:ext cx="1446437" cy="1188720"/>
            </a:xfrm>
            <a:custGeom>
              <a:avLst/>
              <a:gdLst>
                <a:gd name="T0" fmla="*/ 196 w 449"/>
                <a:gd name="T1" fmla="*/ 369 h 369"/>
                <a:gd name="T2" fmla="*/ 0 w 449"/>
                <a:gd name="T3" fmla="*/ 369 h 369"/>
                <a:gd name="T4" fmla="*/ 99 w 449"/>
                <a:gd name="T5" fmla="*/ 240 h 369"/>
                <a:gd name="T6" fmla="*/ 196 w 449"/>
                <a:gd name="T7" fmla="*/ 369 h 369"/>
                <a:gd name="T8" fmla="*/ 442 w 449"/>
                <a:gd name="T9" fmla="*/ 67 h 369"/>
                <a:gd name="T10" fmla="*/ 229 w 449"/>
                <a:gd name="T11" fmla="*/ 369 h 369"/>
                <a:gd name="T12" fmla="*/ 449 w 449"/>
                <a:gd name="T13" fmla="*/ 369 h 369"/>
                <a:gd name="T14" fmla="*/ 442 w 449"/>
                <a:gd name="T15" fmla="*/ 67 h 369"/>
                <a:gd name="T16" fmla="*/ 240 w 449"/>
                <a:gd name="T17" fmla="*/ 168 h 369"/>
                <a:gd name="T18" fmla="*/ 101 w 449"/>
                <a:gd name="T19" fmla="*/ 369 h 369"/>
                <a:gd name="T20" fmla="*/ 379 w 449"/>
                <a:gd name="T21" fmla="*/ 369 h 369"/>
                <a:gd name="T22" fmla="*/ 240 w 449"/>
                <a:gd name="T23" fmla="*/ 168 h 369"/>
                <a:gd name="T24" fmla="*/ 398 w 449"/>
                <a:gd name="T25" fmla="*/ 48 h 369"/>
                <a:gd name="T26" fmla="*/ 398 w 449"/>
                <a:gd name="T27" fmla="*/ 48 h 369"/>
                <a:gd name="T28" fmla="*/ 371 w 449"/>
                <a:gd name="T29" fmla="*/ 77 h 369"/>
                <a:gd name="T30" fmla="*/ 382 w 449"/>
                <a:gd name="T31" fmla="*/ 65 h 369"/>
                <a:gd name="T32" fmla="*/ 349 w 449"/>
                <a:gd name="T33" fmla="*/ 102 h 369"/>
                <a:gd name="T34" fmla="*/ 360 w 449"/>
                <a:gd name="T35" fmla="*/ 90 h 369"/>
                <a:gd name="T36" fmla="*/ 328 w 449"/>
                <a:gd name="T37" fmla="*/ 126 h 369"/>
                <a:gd name="T38" fmla="*/ 338 w 449"/>
                <a:gd name="T39" fmla="*/ 114 h 369"/>
                <a:gd name="T40" fmla="*/ 305 w 449"/>
                <a:gd name="T41" fmla="*/ 150 h 369"/>
                <a:gd name="T42" fmla="*/ 316 w 449"/>
                <a:gd name="T43" fmla="*/ 138 h 369"/>
                <a:gd name="T44" fmla="*/ 283 w 449"/>
                <a:gd name="T45" fmla="*/ 175 h 369"/>
                <a:gd name="T46" fmla="*/ 294 w 449"/>
                <a:gd name="T47" fmla="*/ 163 h 369"/>
                <a:gd name="T48" fmla="*/ 261 w 449"/>
                <a:gd name="T49" fmla="*/ 199 h 369"/>
                <a:gd name="T50" fmla="*/ 273 w 449"/>
                <a:gd name="T51" fmla="*/ 187 h 369"/>
                <a:gd name="T52" fmla="*/ 239 w 449"/>
                <a:gd name="T53" fmla="*/ 223 h 369"/>
                <a:gd name="T54" fmla="*/ 250 w 449"/>
                <a:gd name="T55" fmla="*/ 211 h 369"/>
                <a:gd name="T56" fmla="*/ 217 w 449"/>
                <a:gd name="T57" fmla="*/ 248 h 369"/>
                <a:gd name="T58" fmla="*/ 229 w 449"/>
                <a:gd name="T59" fmla="*/ 236 h 369"/>
                <a:gd name="T60" fmla="*/ 195 w 449"/>
                <a:gd name="T61" fmla="*/ 273 h 369"/>
                <a:gd name="T62" fmla="*/ 206 w 449"/>
                <a:gd name="T63" fmla="*/ 260 h 369"/>
                <a:gd name="T64" fmla="*/ 174 w 449"/>
                <a:gd name="T65" fmla="*/ 296 h 369"/>
                <a:gd name="T66" fmla="*/ 185 w 449"/>
                <a:gd name="T67" fmla="*/ 284 h 369"/>
                <a:gd name="T68" fmla="*/ 151 w 449"/>
                <a:gd name="T69" fmla="*/ 321 h 369"/>
                <a:gd name="T70" fmla="*/ 162 w 449"/>
                <a:gd name="T71" fmla="*/ 309 h 369"/>
                <a:gd name="T72" fmla="*/ 130 w 449"/>
                <a:gd name="T73" fmla="*/ 346 h 369"/>
                <a:gd name="T74" fmla="*/ 141 w 449"/>
                <a:gd name="T75" fmla="*/ 333 h 369"/>
                <a:gd name="T76" fmla="*/ 107 w 449"/>
                <a:gd name="T77" fmla="*/ 369 h 369"/>
                <a:gd name="T78" fmla="*/ 119 w 449"/>
                <a:gd name="T79" fmla="*/ 358 h 369"/>
                <a:gd name="T80" fmla="*/ 438 w 449"/>
                <a:gd name="T81" fmla="*/ 28 h 369"/>
                <a:gd name="T82" fmla="*/ 438 w 449"/>
                <a:gd name="T83" fmla="*/ 28 h 369"/>
                <a:gd name="T84" fmla="*/ 444 w 449"/>
                <a:gd name="T85" fmla="*/ 25 h 369"/>
                <a:gd name="T86" fmla="*/ 444 w 449"/>
                <a:gd name="T87" fmla="*/ 0 h 369"/>
                <a:gd name="T88" fmla="*/ 419 w 449"/>
                <a:gd name="T89" fmla="*/ 0 h 369"/>
                <a:gd name="T90" fmla="*/ 444 w 449"/>
                <a:gd name="T91" fmla="*/ 0 h 369"/>
                <a:gd name="T92" fmla="*/ 395 w 449"/>
                <a:gd name="T93" fmla="*/ 5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49" h="369">
                  <a:moveTo>
                    <a:pt x="196" y="369"/>
                  </a:moveTo>
                  <a:lnTo>
                    <a:pt x="0" y="369"/>
                  </a:lnTo>
                  <a:lnTo>
                    <a:pt x="99" y="240"/>
                  </a:lnTo>
                  <a:lnTo>
                    <a:pt x="196" y="369"/>
                  </a:lnTo>
                  <a:moveTo>
                    <a:pt x="442" y="67"/>
                  </a:moveTo>
                  <a:lnTo>
                    <a:pt x="229" y="369"/>
                  </a:lnTo>
                  <a:lnTo>
                    <a:pt x="449" y="369"/>
                  </a:lnTo>
                  <a:lnTo>
                    <a:pt x="442" y="67"/>
                  </a:lnTo>
                  <a:moveTo>
                    <a:pt x="240" y="168"/>
                  </a:moveTo>
                  <a:lnTo>
                    <a:pt x="101" y="369"/>
                  </a:lnTo>
                  <a:lnTo>
                    <a:pt x="379" y="369"/>
                  </a:lnTo>
                  <a:lnTo>
                    <a:pt x="240" y="168"/>
                  </a:lnTo>
                  <a:moveTo>
                    <a:pt x="398" y="48"/>
                  </a:moveTo>
                  <a:lnTo>
                    <a:pt x="398" y="48"/>
                  </a:lnTo>
                  <a:moveTo>
                    <a:pt x="371" y="77"/>
                  </a:moveTo>
                  <a:lnTo>
                    <a:pt x="382" y="65"/>
                  </a:lnTo>
                  <a:moveTo>
                    <a:pt x="349" y="102"/>
                  </a:moveTo>
                  <a:lnTo>
                    <a:pt x="360" y="90"/>
                  </a:lnTo>
                  <a:moveTo>
                    <a:pt x="328" y="126"/>
                  </a:moveTo>
                  <a:lnTo>
                    <a:pt x="338" y="114"/>
                  </a:lnTo>
                  <a:moveTo>
                    <a:pt x="305" y="150"/>
                  </a:moveTo>
                  <a:lnTo>
                    <a:pt x="316" y="138"/>
                  </a:lnTo>
                  <a:moveTo>
                    <a:pt x="283" y="175"/>
                  </a:moveTo>
                  <a:lnTo>
                    <a:pt x="294" y="163"/>
                  </a:lnTo>
                  <a:moveTo>
                    <a:pt x="261" y="199"/>
                  </a:moveTo>
                  <a:lnTo>
                    <a:pt x="273" y="187"/>
                  </a:lnTo>
                  <a:moveTo>
                    <a:pt x="239" y="223"/>
                  </a:moveTo>
                  <a:lnTo>
                    <a:pt x="250" y="211"/>
                  </a:lnTo>
                  <a:moveTo>
                    <a:pt x="217" y="248"/>
                  </a:moveTo>
                  <a:lnTo>
                    <a:pt x="229" y="236"/>
                  </a:lnTo>
                  <a:moveTo>
                    <a:pt x="195" y="273"/>
                  </a:moveTo>
                  <a:lnTo>
                    <a:pt x="206" y="260"/>
                  </a:lnTo>
                  <a:moveTo>
                    <a:pt x="174" y="296"/>
                  </a:moveTo>
                  <a:lnTo>
                    <a:pt x="185" y="284"/>
                  </a:lnTo>
                  <a:moveTo>
                    <a:pt x="151" y="321"/>
                  </a:moveTo>
                  <a:lnTo>
                    <a:pt x="162" y="309"/>
                  </a:lnTo>
                  <a:moveTo>
                    <a:pt x="130" y="346"/>
                  </a:moveTo>
                  <a:lnTo>
                    <a:pt x="141" y="333"/>
                  </a:lnTo>
                  <a:moveTo>
                    <a:pt x="107" y="369"/>
                  </a:moveTo>
                  <a:lnTo>
                    <a:pt x="119" y="358"/>
                  </a:lnTo>
                  <a:moveTo>
                    <a:pt x="438" y="28"/>
                  </a:moveTo>
                  <a:lnTo>
                    <a:pt x="438" y="28"/>
                  </a:lnTo>
                  <a:moveTo>
                    <a:pt x="444" y="25"/>
                  </a:moveTo>
                  <a:lnTo>
                    <a:pt x="444" y="0"/>
                  </a:lnTo>
                  <a:lnTo>
                    <a:pt x="419" y="0"/>
                  </a:lnTo>
                  <a:moveTo>
                    <a:pt x="444" y="0"/>
                  </a:moveTo>
                  <a:lnTo>
                    <a:pt x="395" y="50"/>
                  </a:lnTo>
                </a:path>
              </a:pathLst>
            </a:custGeom>
            <a:noFill/>
            <a:ln w="41275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9D8367C2-6E95-47A6-9811-BDCF9A98001C}"/>
              </a:ext>
            </a:extLst>
          </p:cNvPr>
          <p:cNvSpPr/>
          <p:nvPr/>
        </p:nvSpPr>
        <p:spPr>
          <a:xfrm>
            <a:off x="7995920" y="3942080"/>
            <a:ext cx="4196080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32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rPr>
              <a:t>Familiar and powerful</a:t>
            </a:r>
            <a:br>
              <a:rPr lang="en-US" sz="32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rPr>
            </a:br>
            <a:r>
              <a:rPr lang="en-US" sz="32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rPr>
              <a:t>query langu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A5FDE3-9117-46DD-AF73-DF724D25171E}"/>
              </a:ext>
            </a:extLst>
          </p:cNvPr>
          <p:cNvSpPr/>
          <p:nvPr/>
        </p:nvSpPr>
        <p:spPr bwMode="auto">
          <a:xfrm>
            <a:off x="9127847" y="1849560"/>
            <a:ext cx="1828800" cy="18288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binary" title="Icon of binary code, ones and zeros">
            <a:extLst>
              <a:ext uri="{FF2B5EF4-FFF2-40B4-BE49-F238E27FC236}">
                <a16:creationId xmlns:a16="http://schemas.microsoft.com/office/drawing/2014/main" id="{13C43675-19DC-4799-B94F-ACBB6EBBB1F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12773" y="2315153"/>
            <a:ext cx="1058949" cy="914400"/>
          </a:xfrm>
          <a:custGeom>
            <a:avLst/>
            <a:gdLst>
              <a:gd name="T0" fmla="*/ 0 w 245"/>
              <a:gd name="T1" fmla="*/ 48 h 212"/>
              <a:gd name="T2" fmla="*/ 92 w 245"/>
              <a:gd name="T3" fmla="*/ 48 h 212"/>
              <a:gd name="T4" fmla="*/ 183 w 245"/>
              <a:gd name="T5" fmla="*/ 48 h 212"/>
              <a:gd name="T6" fmla="*/ 62 w 245"/>
              <a:gd name="T7" fmla="*/ 15 h 212"/>
              <a:gd name="T8" fmla="*/ 46 w 245"/>
              <a:gd name="T9" fmla="*/ 0 h 212"/>
              <a:gd name="T10" fmla="*/ 30 w 245"/>
              <a:gd name="T11" fmla="*/ 33 h 212"/>
              <a:gd name="T12" fmla="*/ 46 w 245"/>
              <a:gd name="T13" fmla="*/ 49 h 212"/>
              <a:gd name="T14" fmla="*/ 153 w 245"/>
              <a:gd name="T15" fmla="*/ 33 h 212"/>
              <a:gd name="T16" fmla="*/ 137 w 245"/>
              <a:gd name="T17" fmla="*/ 0 h 212"/>
              <a:gd name="T18" fmla="*/ 122 w 245"/>
              <a:gd name="T19" fmla="*/ 15 h 212"/>
              <a:gd name="T20" fmla="*/ 137 w 245"/>
              <a:gd name="T21" fmla="*/ 49 h 212"/>
              <a:gd name="T22" fmla="*/ 153 w 245"/>
              <a:gd name="T23" fmla="*/ 33 h 212"/>
              <a:gd name="T24" fmla="*/ 245 w 245"/>
              <a:gd name="T25" fmla="*/ 15 h 212"/>
              <a:gd name="T26" fmla="*/ 229 w 245"/>
              <a:gd name="T27" fmla="*/ 0 h 212"/>
              <a:gd name="T28" fmla="*/ 213 w 245"/>
              <a:gd name="T29" fmla="*/ 33 h 212"/>
              <a:gd name="T30" fmla="*/ 229 w 245"/>
              <a:gd name="T31" fmla="*/ 49 h 212"/>
              <a:gd name="T32" fmla="*/ 0 w 245"/>
              <a:gd name="T33" fmla="*/ 163 h 212"/>
              <a:gd name="T34" fmla="*/ 92 w 245"/>
              <a:gd name="T35" fmla="*/ 163 h 212"/>
              <a:gd name="T36" fmla="*/ 183 w 245"/>
              <a:gd name="T37" fmla="*/ 163 h 212"/>
              <a:gd name="T38" fmla="*/ 62 w 245"/>
              <a:gd name="T39" fmla="*/ 196 h 212"/>
              <a:gd name="T40" fmla="*/ 46 w 245"/>
              <a:gd name="T41" fmla="*/ 163 h 212"/>
              <a:gd name="T42" fmla="*/ 30 w 245"/>
              <a:gd name="T43" fmla="*/ 179 h 212"/>
              <a:gd name="T44" fmla="*/ 46 w 245"/>
              <a:gd name="T45" fmla="*/ 212 h 212"/>
              <a:gd name="T46" fmla="*/ 62 w 245"/>
              <a:gd name="T47" fmla="*/ 196 h 212"/>
              <a:gd name="T48" fmla="*/ 153 w 245"/>
              <a:gd name="T49" fmla="*/ 179 h 212"/>
              <a:gd name="T50" fmla="*/ 137 w 245"/>
              <a:gd name="T51" fmla="*/ 163 h 212"/>
              <a:gd name="T52" fmla="*/ 122 w 245"/>
              <a:gd name="T53" fmla="*/ 196 h 212"/>
              <a:gd name="T54" fmla="*/ 137 w 245"/>
              <a:gd name="T55" fmla="*/ 212 h 212"/>
              <a:gd name="T56" fmla="*/ 245 w 245"/>
              <a:gd name="T57" fmla="*/ 196 h 212"/>
              <a:gd name="T58" fmla="*/ 229 w 245"/>
              <a:gd name="T59" fmla="*/ 163 h 212"/>
              <a:gd name="T60" fmla="*/ 213 w 245"/>
              <a:gd name="T61" fmla="*/ 179 h 212"/>
              <a:gd name="T62" fmla="*/ 229 w 245"/>
              <a:gd name="T63" fmla="*/ 212 h 212"/>
              <a:gd name="T64" fmla="*/ 245 w 245"/>
              <a:gd name="T65" fmla="*/ 196 h 212"/>
              <a:gd name="T66" fmla="*/ 62 w 245"/>
              <a:gd name="T67" fmla="*/ 131 h 212"/>
              <a:gd name="T68" fmla="*/ 153 w 245"/>
              <a:gd name="T69" fmla="*/ 131 h 212"/>
              <a:gd name="T70" fmla="*/ 32 w 245"/>
              <a:gd name="T71" fmla="*/ 98 h 212"/>
              <a:gd name="T72" fmla="*/ 16 w 245"/>
              <a:gd name="T73" fmla="*/ 83 h 212"/>
              <a:gd name="T74" fmla="*/ 0 w 245"/>
              <a:gd name="T75" fmla="*/ 116 h 212"/>
              <a:gd name="T76" fmla="*/ 16 w 245"/>
              <a:gd name="T77" fmla="*/ 132 h 212"/>
              <a:gd name="T78" fmla="*/ 123 w 245"/>
              <a:gd name="T79" fmla="*/ 116 h 212"/>
              <a:gd name="T80" fmla="*/ 107 w 245"/>
              <a:gd name="T81" fmla="*/ 83 h 212"/>
              <a:gd name="T82" fmla="*/ 92 w 245"/>
              <a:gd name="T83" fmla="*/ 98 h 212"/>
              <a:gd name="T84" fmla="*/ 107 w 245"/>
              <a:gd name="T85" fmla="*/ 132 h 212"/>
              <a:gd name="T86" fmla="*/ 123 w 245"/>
              <a:gd name="T87" fmla="*/ 116 h 212"/>
              <a:gd name="T88" fmla="*/ 215 w 245"/>
              <a:gd name="T89" fmla="*/ 98 h 212"/>
              <a:gd name="T90" fmla="*/ 199 w 245"/>
              <a:gd name="T91" fmla="*/ 83 h 212"/>
              <a:gd name="T92" fmla="*/ 183 w 245"/>
              <a:gd name="T93" fmla="*/ 116 h 212"/>
              <a:gd name="T94" fmla="*/ 199 w 245"/>
              <a:gd name="T95" fmla="*/ 132 h 212"/>
              <a:gd name="T96" fmla="*/ 245 w 245"/>
              <a:gd name="T97" fmla="*/ 83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45" h="212">
                <a:moveTo>
                  <a:pt x="0" y="0"/>
                </a:moveTo>
                <a:cubicBezTo>
                  <a:pt x="0" y="48"/>
                  <a:pt x="0" y="48"/>
                  <a:pt x="0" y="48"/>
                </a:cubicBezTo>
                <a:moveTo>
                  <a:pt x="92" y="0"/>
                </a:moveTo>
                <a:cubicBezTo>
                  <a:pt x="92" y="48"/>
                  <a:pt x="92" y="48"/>
                  <a:pt x="92" y="48"/>
                </a:cubicBezTo>
                <a:moveTo>
                  <a:pt x="183" y="0"/>
                </a:moveTo>
                <a:cubicBezTo>
                  <a:pt x="183" y="48"/>
                  <a:pt x="183" y="48"/>
                  <a:pt x="183" y="48"/>
                </a:cubicBezTo>
                <a:moveTo>
                  <a:pt x="62" y="33"/>
                </a:moveTo>
                <a:cubicBezTo>
                  <a:pt x="62" y="15"/>
                  <a:pt x="62" y="15"/>
                  <a:pt x="62" y="15"/>
                </a:cubicBezTo>
                <a:cubicBezTo>
                  <a:pt x="62" y="7"/>
                  <a:pt x="5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37" y="0"/>
                  <a:pt x="30" y="7"/>
                  <a:pt x="30" y="15"/>
                </a:cubicBezTo>
                <a:cubicBezTo>
                  <a:pt x="30" y="33"/>
                  <a:pt x="30" y="33"/>
                  <a:pt x="30" y="33"/>
                </a:cubicBezTo>
                <a:cubicBezTo>
                  <a:pt x="30" y="41"/>
                  <a:pt x="37" y="49"/>
                  <a:pt x="46" y="49"/>
                </a:cubicBezTo>
                <a:cubicBezTo>
                  <a:pt x="46" y="49"/>
                  <a:pt x="46" y="49"/>
                  <a:pt x="46" y="49"/>
                </a:cubicBezTo>
                <a:cubicBezTo>
                  <a:pt x="55" y="49"/>
                  <a:pt x="62" y="41"/>
                  <a:pt x="62" y="33"/>
                </a:cubicBezTo>
                <a:close/>
                <a:moveTo>
                  <a:pt x="153" y="33"/>
                </a:moveTo>
                <a:cubicBezTo>
                  <a:pt x="153" y="15"/>
                  <a:pt x="153" y="15"/>
                  <a:pt x="153" y="15"/>
                </a:cubicBezTo>
                <a:cubicBezTo>
                  <a:pt x="153" y="7"/>
                  <a:pt x="146" y="0"/>
                  <a:pt x="137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9" y="0"/>
                  <a:pt x="122" y="7"/>
                  <a:pt x="122" y="15"/>
                </a:cubicBezTo>
                <a:cubicBezTo>
                  <a:pt x="122" y="33"/>
                  <a:pt x="122" y="33"/>
                  <a:pt x="122" y="33"/>
                </a:cubicBezTo>
                <a:cubicBezTo>
                  <a:pt x="122" y="41"/>
                  <a:pt x="129" y="49"/>
                  <a:pt x="137" y="49"/>
                </a:cubicBezTo>
                <a:cubicBezTo>
                  <a:pt x="137" y="49"/>
                  <a:pt x="137" y="49"/>
                  <a:pt x="137" y="49"/>
                </a:cubicBezTo>
                <a:cubicBezTo>
                  <a:pt x="146" y="49"/>
                  <a:pt x="153" y="41"/>
                  <a:pt x="153" y="33"/>
                </a:cubicBezTo>
                <a:close/>
                <a:moveTo>
                  <a:pt x="245" y="33"/>
                </a:moveTo>
                <a:cubicBezTo>
                  <a:pt x="245" y="15"/>
                  <a:pt x="245" y="15"/>
                  <a:pt x="245" y="15"/>
                </a:cubicBezTo>
                <a:cubicBezTo>
                  <a:pt x="245" y="7"/>
                  <a:pt x="237" y="0"/>
                  <a:pt x="229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20" y="0"/>
                  <a:pt x="213" y="7"/>
                  <a:pt x="213" y="15"/>
                </a:cubicBezTo>
                <a:cubicBezTo>
                  <a:pt x="213" y="33"/>
                  <a:pt x="213" y="33"/>
                  <a:pt x="213" y="33"/>
                </a:cubicBezTo>
                <a:cubicBezTo>
                  <a:pt x="213" y="41"/>
                  <a:pt x="220" y="49"/>
                  <a:pt x="229" y="49"/>
                </a:cubicBezTo>
                <a:cubicBezTo>
                  <a:pt x="229" y="49"/>
                  <a:pt x="229" y="49"/>
                  <a:pt x="229" y="49"/>
                </a:cubicBezTo>
                <a:cubicBezTo>
                  <a:pt x="237" y="49"/>
                  <a:pt x="245" y="41"/>
                  <a:pt x="245" y="33"/>
                </a:cubicBezTo>
                <a:close/>
                <a:moveTo>
                  <a:pt x="0" y="163"/>
                </a:moveTo>
                <a:cubicBezTo>
                  <a:pt x="0" y="212"/>
                  <a:pt x="0" y="212"/>
                  <a:pt x="0" y="212"/>
                </a:cubicBezTo>
                <a:moveTo>
                  <a:pt x="92" y="163"/>
                </a:moveTo>
                <a:cubicBezTo>
                  <a:pt x="92" y="212"/>
                  <a:pt x="92" y="212"/>
                  <a:pt x="92" y="212"/>
                </a:cubicBezTo>
                <a:moveTo>
                  <a:pt x="183" y="163"/>
                </a:moveTo>
                <a:cubicBezTo>
                  <a:pt x="183" y="212"/>
                  <a:pt x="183" y="212"/>
                  <a:pt x="183" y="212"/>
                </a:cubicBezTo>
                <a:moveTo>
                  <a:pt x="62" y="196"/>
                </a:moveTo>
                <a:cubicBezTo>
                  <a:pt x="62" y="179"/>
                  <a:pt x="62" y="179"/>
                  <a:pt x="62" y="179"/>
                </a:cubicBezTo>
                <a:cubicBezTo>
                  <a:pt x="62" y="170"/>
                  <a:pt x="55" y="163"/>
                  <a:pt x="46" y="163"/>
                </a:cubicBezTo>
                <a:cubicBezTo>
                  <a:pt x="46" y="163"/>
                  <a:pt x="46" y="163"/>
                  <a:pt x="46" y="163"/>
                </a:cubicBezTo>
                <a:cubicBezTo>
                  <a:pt x="37" y="163"/>
                  <a:pt x="30" y="170"/>
                  <a:pt x="30" y="179"/>
                </a:cubicBezTo>
                <a:cubicBezTo>
                  <a:pt x="30" y="196"/>
                  <a:pt x="30" y="196"/>
                  <a:pt x="30" y="196"/>
                </a:cubicBezTo>
                <a:cubicBezTo>
                  <a:pt x="30" y="205"/>
                  <a:pt x="37" y="212"/>
                  <a:pt x="46" y="212"/>
                </a:cubicBezTo>
                <a:cubicBezTo>
                  <a:pt x="46" y="212"/>
                  <a:pt x="46" y="212"/>
                  <a:pt x="46" y="212"/>
                </a:cubicBezTo>
                <a:cubicBezTo>
                  <a:pt x="55" y="212"/>
                  <a:pt x="62" y="205"/>
                  <a:pt x="62" y="196"/>
                </a:cubicBezTo>
                <a:close/>
                <a:moveTo>
                  <a:pt x="153" y="196"/>
                </a:moveTo>
                <a:cubicBezTo>
                  <a:pt x="153" y="179"/>
                  <a:pt x="153" y="179"/>
                  <a:pt x="153" y="179"/>
                </a:cubicBezTo>
                <a:cubicBezTo>
                  <a:pt x="153" y="170"/>
                  <a:pt x="146" y="163"/>
                  <a:pt x="137" y="163"/>
                </a:cubicBezTo>
                <a:cubicBezTo>
                  <a:pt x="137" y="163"/>
                  <a:pt x="137" y="163"/>
                  <a:pt x="137" y="163"/>
                </a:cubicBezTo>
                <a:cubicBezTo>
                  <a:pt x="129" y="163"/>
                  <a:pt x="122" y="170"/>
                  <a:pt x="122" y="179"/>
                </a:cubicBezTo>
                <a:cubicBezTo>
                  <a:pt x="122" y="196"/>
                  <a:pt x="122" y="196"/>
                  <a:pt x="122" y="196"/>
                </a:cubicBezTo>
                <a:cubicBezTo>
                  <a:pt x="122" y="205"/>
                  <a:pt x="129" y="212"/>
                  <a:pt x="137" y="212"/>
                </a:cubicBezTo>
                <a:cubicBezTo>
                  <a:pt x="137" y="212"/>
                  <a:pt x="137" y="212"/>
                  <a:pt x="137" y="212"/>
                </a:cubicBezTo>
                <a:cubicBezTo>
                  <a:pt x="146" y="212"/>
                  <a:pt x="153" y="205"/>
                  <a:pt x="153" y="196"/>
                </a:cubicBezTo>
                <a:close/>
                <a:moveTo>
                  <a:pt x="245" y="196"/>
                </a:moveTo>
                <a:cubicBezTo>
                  <a:pt x="245" y="179"/>
                  <a:pt x="245" y="179"/>
                  <a:pt x="245" y="179"/>
                </a:cubicBezTo>
                <a:cubicBezTo>
                  <a:pt x="245" y="170"/>
                  <a:pt x="237" y="163"/>
                  <a:pt x="229" y="163"/>
                </a:cubicBezTo>
                <a:cubicBezTo>
                  <a:pt x="229" y="163"/>
                  <a:pt x="229" y="163"/>
                  <a:pt x="229" y="163"/>
                </a:cubicBezTo>
                <a:cubicBezTo>
                  <a:pt x="220" y="163"/>
                  <a:pt x="213" y="170"/>
                  <a:pt x="213" y="179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13" y="205"/>
                  <a:pt x="220" y="212"/>
                  <a:pt x="229" y="212"/>
                </a:cubicBezTo>
                <a:cubicBezTo>
                  <a:pt x="229" y="212"/>
                  <a:pt x="229" y="212"/>
                  <a:pt x="229" y="212"/>
                </a:cubicBezTo>
                <a:cubicBezTo>
                  <a:pt x="237" y="212"/>
                  <a:pt x="245" y="205"/>
                  <a:pt x="245" y="196"/>
                </a:cubicBezTo>
                <a:close/>
                <a:moveTo>
                  <a:pt x="62" y="83"/>
                </a:moveTo>
                <a:cubicBezTo>
                  <a:pt x="62" y="131"/>
                  <a:pt x="62" y="131"/>
                  <a:pt x="62" y="131"/>
                </a:cubicBezTo>
                <a:moveTo>
                  <a:pt x="153" y="83"/>
                </a:moveTo>
                <a:cubicBezTo>
                  <a:pt x="153" y="131"/>
                  <a:pt x="153" y="131"/>
                  <a:pt x="153" y="131"/>
                </a:cubicBezTo>
                <a:moveTo>
                  <a:pt x="32" y="116"/>
                </a:moveTo>
                <a:cubicBezTo>
                  <a:pt x="32" y="98"/>
                  <a:pt x="32" y="98"/>
                  <a:pt x="32" y="98"/>
                </a:cubicBezTo>
                <a:cubicBezTo>
                  <a:pt x="32" y="90"/>
                  <a:pt x="25" y="83"/>
                  <a:pt x="16" y="83"/>
                </a:cubicBezTo>
                <a:cubicBezTo>
                  <a:pt x="16" y="83"/>
                  <a:pt x="16" y="83"/>
                  <a:pt x="16" y="83"/>
                </a:cubicBezTo>
                <a:cubicBezTo>
                  <a:pt x="7" y="83"/>
                  <a:pt x="0" y="90"/>
                  <a:pt x="0" y="98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24"/>
                  <a:pt x="7" y="132"/>
                  <a:pt x="16" y="132"/>
                </a:cubicBezTo>
                <a:cubicBezTo>
                  <a:pt x="16" y="132"/>
                  <a:pt x="16" y="132"/>
                  <a:pt x="16" y="132"/>
                </a:cubicBezTo>
                <a:cubicBezTo>
                  <a:pt x="25" y="132"/>
                  <a:pt x="32" y="124"/>
                  <a:pt x="32" y="116"/>
                </a:cubicBezTo>
                <a:close/>
                <a:moveTo>
                  <a:pt x="123" y="116"/>
                </a:moveTo>
                <a:cubicBezTo>
                  <a:pt x="123" y="98"/>
                  <a:pt x="123" y="98"/>
                  <a:pt x="123" y="98"/>
                </a:cubicBezTo>
                <a:cubicBezTo>
                  <a:pt x="123" y="90"/>
                  <a:pt x="116" y="83"/>
                  <a:pt x="107" y="83"/>
                </a:cubicBezTo>
                <a:cubicBezTo>
                  <a:pt x="107" y="83"/>
                  <a:pt x="107" y="83"/>
                  <a:pt x="107" y="83"/>
                </a:cubicBezTo>
                <a:cubicBezTo>
                  <a:pt x="99" y="83"/>
                  <a:pt x="92" y="90"/>
                  <a:pt x="92" y="98"/>
                </a:cubicBezTo>
                <a:cubicBezTo>
                  <a:pt x="92" y="116"/>
                  <a:pt x="92" y="116"/>
                  <a:pt x="92" y="116"/>
                </a:cubicBezTo>
                <a:cubicBezTo>
                  <a:pt x="92" y="124"/>
                  <a:pt x="99" y="132"/>
                  <a:pt x="107" y="132"/>
                </a:cubicBezTo>
                <a:cubicBezTo>
                  <a:pt x="107" y="132"/>
                  <a:pt x="107" y="132"/>
                  <a:pt x="107" y="132"/>
                </a:cubicBezTo>
                <a:cubicBezTo>
                  <a:pt x="116" y="132"/>
                  <a:pt x="123" y="124"/>
                  <a:pt x="123" y="116"/>
                </a:cubicBezTo>
                <a:close/>
                <a:moveTo>
                  <a:pt x="215" y="116"/>
                </a:moveTo>
                <a:cubicBezTo>
                  <a:pt x="215" y="98"/>
                  <a:pt x="215" y="98"/>
                  <a:pt x="215" y="98"/>
                </a:cubicBezTo>
                <a:cubicBezTo>
                  <a:pt x="215" y="90"/>
                  <a:pt x="207" y="83"/>
                  <a:pt x="199" y="83"/>
                </a:cubicBezTo>
                <a:cubicBezTo>
                  <a:pt x="199" y="83"/>
                  <a:pt x="199" y="83"/>
                  <a:pt x="199" y="83"/>
                </a:cubicBezTo>
                <a:cubicBezTo>
                  <a:pt x="190" y="83"/>
                  <a:pt x="183" y="90"/>
                  <a:pt x="183" y="98"/>
                </a:cubicBezTo>
                <a:cubicBezTo>
                  <a:pt x="183" y="116"/>
                  <a:pt x="183" y="116"/>
                  <a:pt x="183" y="116"/>
                </a:cubicBezTo>
                <a:cubicBezTo>
                  <a:pt x="183" y="124"/>
                  <a:pt x="190" y="132"/>
                  <a:pt x="199" y="132"/>
                </a:cubicBezTo>
                <a:cubicBezTo>
                  <a:pt x="199" y="132"/>
                  <a:pt x="199" y="132"/>
                  <a:pt x="199" y="132"/>
                </a:cubicBezTo>
                <a:cubicBezTo>
                  <a:pt x="207" y="132"/>
                  <a:pt x="215" y="124"/>
                  <a:pt x="215" y="116"/>
                </a:cubicBezTo>
                <a:close/>
                <a:moveTo>
                  <a:pt x="245" y="83"/>
                </a:moveTo>
                <a:cubicBezTo>
                  <a:pt x="245" y="131"/>
                  <a:pt x="245" y="131"/>
                  <a:pt x="245" y="131"/>
                </a:cubicBezTo>
              </a:path>
            </a:pathLst>
          </a:custGeom>
          <a:noFill/>
          <a:ln w="412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97832B-CB34-4925-A054-8FF64F0243C8}"/>
              </a:ext>
            </a:extLst>
          </p:cNvPr>
          <p:cNvSpPr txBox="1"/>
          <p:nvPr/>
        </p:nvSpPr>
        <p:spPr>
          <a:xfrm>
            <a:off x="4502722" y="3942080"/>
            <a:ext cx="2783840" cy="1681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1440" algn="ctr" fontAlgn="b">
              <a:spcAft>
                <a:spcPts val="600"/>
              </a:spcAft>
            </a:pPr>
            <a:r>
              <a:rPr lang="en-US" sz="3200" dirty="0">
                <a:solidFill>
                  <a:schemeClr val="bg1">
                    <a:lumMod val="50000"/>
                  </a:schemeClr>
                </a:solidFill>
                <a:latin typeface="+mj-lt"/>
                <a:cs typeface="Segoe UI Semilight" panose="020B0402040204020203" pitchFamily="34" charset="0"/>
              </a:rPr>
              <a:t>User friendly analytics</a:t>
            </a:r>
          </a:p>
          <a:p>
            <a:pPr marL="91440" fontAlgn="b">
              <a:spcAft>
                <a:spcPts val="600"/>
              </a:spcAft>
            </a:pPr>
            <a:endParaRPr lang="en-US" dirty="0">
              <a:solidFill>
                <a:schemeClr val="bg1">
                  <a:lumMod val="50000"/>
                </a:schemeClr>
              </a:solidFill>
              <a:latin typeface="+mj-lt"/>
              <a:cs typeface="Segoe UI Semilight" panose="020B0402040204020203" pitchFamily="34" charset="0"/>
            </a:endParaRPr>
          </a:p>
          <a:p>
            <a:pPr marL="91440" fontAlgn="b">
              <a:spcAft>
                <a:spcPts val="600"/>
              </a:spcAft>
            </a:pPr>
            <a:endParaRPr lang="en-US" dirty="0">
              <a:solidFill>
                <a:schemeClr val="bg1">
                  <a:lumMod val="50000"/>
                </a:schemeClr>
              </a:solidFill>
              <a:latin typeface="+mj-lt"/>
              <a:cs typeface="Segoe UI Semilight" panose="020B04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4022343-55E5-4744-AD25-4F331A21AA09}"/>
              </a:ext>
            </a:extLst>
          </p:cNvPr>
          <p:cNvSpPr/>
          <p:nvPr/>
        </p:nvSpPr>
        <p:spPr bwMode="auto">
          <a:xfrm>
            <a:off x="4980242" y="1849560"/>
            <a:ext cx="1828800" cy="18288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5" name="Graphic 14" descr="Teacher">
            <a:extLst>
              <a:ext uri="{FF2B5EF4-FFF2-40B4-BE49-F238E27FC236}">
                <a16:creationId xmlns:a16="http://schemas.microsoft.com/office/drawing/2014/main" id="{886E64F6-1879-499A-99D6-010A4B9B75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91759" y="2090043"/>
            <a:ext cx="1338957" cy="1338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4783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F15358-A230-47FA-8EE3-3449A5A63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usto Data Explor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54C5BF-9418-4CB4-B1AF-432D095321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920" y="988396"/>
            <a:ext cx="11525250" cy="5869604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00381FA7-2D11-4145-B0B0-6E55D661DE71}"/>
              </a:ext>
            </a:extLst>
          </p:cNvPr>
          <p:cNvSpPr/>
          <p:nvPr/>
        </p:nvSpPr>
        <p:spPr bwMode="auto">
          <a:xfrm rot="13566985">
            <a:off x="1902019" y="4234260"/>
            <a:ext cx="1071721" cy="489946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4D4BA9-79C9-465C-AE68-577CBB1FB366}"/>
              </a:ext>
            </a:extLst>
          </p:cNvPr>
          <p:cNvSpPr txBox="1"/>
          <p:nvPr/>
        </p:nvSpPr>
        <p:spPr>
          <a:xfrm>
            <a:off x="2886075" y="4779250"/>
            <a:ext cx="2952750" cy="271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1440" fontAlgn="b">
              <a:spcAft>
                <a:spcPts val="600"/>
              </a:spcAft>
            </a:pP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+mj-lt"/>
                <a:cs typeface="Segoe UI Semilight" panose="020B0402040204020203" pitchFamily="34" charset="0"/>
              </a:rPr>
              <a:t>Clusters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+mj-lt"/>
                <a:cs typeface="Segoe UI Semilight" panose="020B0402040204020203" pitchFamily="34" charset="0"/>
                <a:sym typeface="Wingdings" panose="05000000000000000000" pitchFamily="2" charset="2"/>
              </a:rPr>
              <a:t>DatabaseTable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+mj-lt"/>
              <a:cs typeface="Segoe UI Semilight" panose="020B0402040204020203" pitchFamily="34" charset="0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93D995FF-DDDC-4990-89E0-54A4D9CA65BC}"/>
              </a:ext>
            </a:extLst>
          </p:cNvPr>
          <p:cNvSpPr/>
          <p:nvPr/>
        </p:nvSpPr>
        <p:spPr bwMode="auto">
          <a:xfrm rot="13566985">
            <a:off x="8074218" y="2739240"/>
            <a:ext cx="1071721" cy="489946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A88FA3-CEB6-4A23-B0EA-CCF3E166DDF6}"/>
              </a:ext>
            </a:extLst>
          </p:cNvPr>
          <p:cNvSpPr txBox="1"/>
          <p:nvPr/>
        </p:nvSpPr>
        <p:spPr>
          <a:xfrm>
            <a:off x="7133703" y="3429000"/>
            <a:ext cx="2952750" cy="271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1440" fontAlgn="b">
              <a:spcAft>
                <a:spcPts val="600"/>
              </a:spcAft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j-lt"/>
                <a:cs typeface="Segoe UI Semilight" panose="020B0402040204020203" pitchFamily="34" charset="0"/>
              </a:rPr>
              <a:t>Some light syntax editing tool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2B431E-C66F-42FC-A5AD-F25000DA9808}"/>
              </a:ext>
            </a:extLst>
          </p:cNvPr>
          <p:cNvSpPr txBox="1"/>
          <p:nvPr/>
        </p:nvSpPr>
        <p:spPr>
          <a:xfrm>
            <a:off x="6809853" y="4446402"/>
            <a:ext cx="2952750" cy="271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1440" fontAlgn="b">
              <a:spcAft>
                <a:spcPts val="600"/>
              </a:spcAft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j-lt"/>
                <a:cs typeface="Segoe UI Semilight" panose="020B0402040204020203" pitchFamily="34" charset="0"/>
              </a:rPr>
              <a:t>Run code with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+mj-lt"/>
                <a:cs typeface="Segoe UI Semilight" panose="020B0402040204020203" pitchFamily="34" charset="0"/>
              </a:rPr>
              <a:t>Shift+Enter</a:t>
            </a:r>
            <a:endParaRPr lang="en-US" dirty="0">
              <a:solidFill>
                <a:schemeClr val="bg1">
                  <a:lumMod val="50000"/>
                </a:schemeClr>
              </a:solidFill>
              <a:latin typeface="+mj-lt"/>
              <a:cs typeface="Segoe UI Semilight" panose="020B04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8210768-D569-4C42-9FD5-86BB82DD3D06}"/>
              </a:ext>
            </a:extLst>
          </p:cNvPr>
          <p:cNvSpPr txBox="1"/>
          <p:nvPr/>
        </p:nvSpPr>
        <p:spPr>
          <a:xfrm>
            <a:off x="6872989" y="5956320"/>
            <a:ext cx="5055576" cy="8917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1440" fontAlgn="b">
              <a:spcAft>
                <a:spcPts val="600"/>
              </a:spcAft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j-lt"/>
                <a:cs typeface="Segoe UI Semilight" panose="020B0402040204020203" pitchFamily="34" charset="0"/>
              </a:rPr>
              <a:t>The database you highlight in the left hand nav is the database context your query is operating in.</a:t>
            </a:r>
          </a:p>
          <a:p>
            <a:pPr marL="91440" fontAlgn="b">
              <a:spcAft>
                <a:spcPts val="600"/>
              </a:spcAft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j-lt"/>
                <a:cs typeface="Segoe UI Semilight" panose="020B0402040204020203" pitchFamily="34" charset="0"/>
              </a:rPr>
              <a:t>Use the lock button to lock </a:t>
            </a:r>
            <a:r>
              <a:rPr lang="en-US">
                <a:solidFill>
                  <a:schemeClr val="bg1">
                    <a:lumMod val="50000"/>
                  </a:schemeClr>
                </a:solidFill>
                <a:latin typeface="+mj-lt"/>
                <a:cs typeface="Segoe UI Semilight" panose="020B0402040204020203" pitchFamily="34" charset="0"/>
              </a:rPr>
              <a:t>the context </a:t>
            </a:r>
            <a:endParaRPr lang="en-US" dirty="0">
              <a:solidFill>
                <a:schemeClr val="bg1">
                  <a:lumMod val="50000"/>
                </a:schemeClr>
              </a:solidFill>
              <a:latin typeface="+mj-lt"/>
              <a:cs typeface="Segoe UI Semilight" panose="020B0402040204020203" pitchFamily="34" charset="0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69DDF8A5-E7A3-46EE-8678-29E08587EABA}"/>
              </a:ext>
            </a:extLst>
          </p:cNvPr>
          <p:cNvSpPr/>
          <p:nvPr/>
        </p:nvSpPr>
        <p:spPr bwMode="auto">
          <a:xfrm rot="10800000">
            <a:off x="1817413" y="5982960"/>
            <a:ext cx="5055576" cy="489946"/>
          </a:xfrm>
          <a:prstGeom prst="right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97672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61870E-F5DC-44D6-94D1-13482F42C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 2. Hands on with Kusto </a:t>
            </a:r>
          </a:p>
        </p:txBody>
      </p:sp>
    </p:spTree>
    <p:extLst>
      <p:ext uri="{BB962C8B-B14F-4D97-AF65-F5344CB8AC3E}">
        <p14:creationId xmlns:p14="http://schemas.microsoft.com/office/powerpoint/2010/main" val="277172663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2018_38.potx" id="{9638C6D4-89C9-4F35-9A2F-B54DC4C2CE53}" vid="{5DBA94B2-CF53-4EA8-AFB2-901B1F77E88F}"/>
    </a:ext>
  </a:extLst>
</a:theme>
</file>

<file path=ppt/theme/theme2.xml><?xml version="1.0" encoding="utf-8"?>
<a:theme xmlns:a="http://schemas.openxmlformats.org/drawingml/2006/main" name="SOFT BLACK TEMPLATE">
  <a:themeElements>
    <a:clrScheme name="TT for Dark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BCF2"/>
      </a:accent2>
      <a:accent3>
        <a:srgbClr val="107C10"/>
      </a:accent3>
      <a:accent4>
        <a:srgbClr val="D73B01"/>
      </a:accent4>
      <a:accent5>
        <a:srgbClr val="FFB900"/>
      </a:accent5>
      <a:accent6>
        <a:srgbClr val="E6E6E6"/>
      </a:accent6>
      <a:hlink>
        <a:srgbClr val="00BCF2"/>
      </a:hlink>
      <a:folHlink>
        <a:srgbClr val="00BCF2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2018_38.potx" id="{9638C6D4-89C9-4F35-9A2F-B54DC4C2CE53}" vid="{FA0B7B40-EA64-4980-B906-A8EC5C7B6B8C}"/>
    </a:ext>
  </a:extLst>
</a:theme>
</file>

<file path=ppt/theme/theme3.xml><?xml version="1.0" encoding="utf-8"?>
<a:theme xmlns:a="http://schemas.openxmlformats.org/drawingml/2006/main" name="1_COLOR TEMPLATE">
  <a:themeElements>
    <a:clrScheme name="Custom 1">
      <a:dk1>
        <a:srgbClr val="505050"/>
      </a:dk1>
      <a:lt1>
        <a:srgbClr val="FFFFFF"/>
      </a:lt1>
      <a:dk2>
        <a:srgbClr val="002050"/>
      </a:dk2>
      <a:lt2>
        <a:srgbClr val="00BCF2"/>
      </a:lt2>
      <a:accent1>
        <a:srgbClr val="0078D7"/>
      </a:accent1>
      <a:accent2>
        <a:srgbClr val="B4009E"/>
      </a:accent2>
      <a:accent3>
        <a:srgbClr val="008272"/>
      </a:accent3>
      <a:accent4>
        <a:srgbClr val="5C2D91"/>
      </a:accent4>
      <a:accent5>
        <a:srgbClr val="107C10"/>
      </a:accent5>
      <a:accent6>
        <a:srgbClr val="D83B01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0000"/>
              <a:lumOff val="40000"/>
            </a:schemeClr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91440" fontAlgn="b">
          <a:spcAft>
            <a:spcPts val="600"/>
          </a:spcAft>
          <a:defRPr dirty="0" smtClean="0">
            <a:solidFill>
              <a:schemeClr val="bg1">
                <a:lumMod val="50000"/>
              </a:schemeClr>
            </a:solidFill>
            <a:latin typeface="+mj-lt"/>
            <a:cs typeface="Segoe UI Semilight" panose="020B04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64E9B03C-DF2B-4891-9356-D35CF69F1B06}"/>
    </a:ext>
  </a:extLst>
</a:theme>
</file>

<file path=ppt/theme/theme4.xml><?xml version="1.0" encoding="utf-8"?>
<a:theme xmlns:a="http://schemas.openxmlformats.org/drawingml/2006/main" name="1_WHITE TEMPLATE">
  <a:themeElements>
    <a:clrScheme name="BT - Blue">
      <a:dk1>
        <a:srgbClr val="505050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002050"/>
      </a:accent2>
      <a:accent3>
        <a:srgbClr val="B4009E"/>
      </a:accent3>
      <a:accent4>
        <a:srgbClr val="5C2D91"/>
      </a:accent4>
      <a:accent5>
        <a:srgbClr val="004B50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nager Essentials Overview 3Dec17" id="{D3A01300-3D08-4273-93F8-AC659BAFE46A}" vid="{30D90B79-11E2-45D1-848E-FBCC78047D6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842466E3D1E445B049902E74A52C90" ma:contentTypeVersion="4" ma:contentTypeDescription="Create a new document." ma:contentTypeScope="" ma:versionID="d9487a2eb63dac3424af6cc8df100c65">
  <xsd:schema xmlns:xsd="http://www.w3.org/2001/XMLSchema" xmlns:xs="http://www.w3.org/2001/XMLSchema" xmlns:p="http://schemas.microsoft.com/office/2006/metadata/properties" xmlns:ns2="ea01e14c-694a-4b19-8b57-018cb4daa0b9" xmlns:ns3="13631825-a88a-4b56-94e6-cc192bef9c43" targetNamespace="http://schemas.microsoft.com/office/2006/metadata/properties" ma:root="true" ma:fieldsID="06e703d9ee8b765ce865b2ad18581874" ns2:_="" ns3:_="">
    <xsd:import namespace="ea01e14c-694a-4b19-8b57-018cb4daa0b9"/>
    <xsd:import namespace="13631825-a88a-4b56-94e6-cc192bef9c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e14c-694a-4b19-8b57-018cb4daa0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631825-a88a-4b56-94e6-cc192bef9c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3631825-a88a-4b56-94e6-cc192bef9c43">
      <UserInfo>
        <DisplayName>Lenka Hanzlik (Accenture)</DisplayName>
        <AccountId>35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E90684F-E748-417E-8073-8BF33A233A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a01e14c-694a-4b19-8b57-018cb4daa0b9"/>
    <ds:schemaRef ds:uri="13631825-a88a-4b56-94e6-cc192bef9c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ea01e14c-694a-4b19-8b57-018cb4daa0b9"/>
    <ds:schemaRef ds:uri="http://purl.org/dc/terms/"/>
    <ds:schemaRef ds:uri="http://schemas.openxmlformats.org/package/2006/metadata/core-properties"/>
    <ds:schemaRef ds:uri="13631825-a88a-4b56-94e6-cc192bef9c43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-9_Business_2018_39</Template>
  <TotalTime>356</TotalTime>
  <Words>464</Words>
  <Application>Microsoft Office PowerPoint</Application>
  <PresentationFormat>Widescreen</PresentationFormat>
  <Paragraphs>48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Arial</vt:lpstr>
      <vt:lpstr>Consolas</vt:lpstr>
      <vt:lpstr>Segoe UI</vt:lpstr>
      <vt:lpstr>Segoe UI Light</vt:lpstr>
      <vt:lpstr>Segoe UI Semibold</vt:lpstr>
      <vt:lpstr>Segoe UI Semilight</vt:lpstr>
      <vt:lpstr>Wingdings</vt:lpstr>
      <vt:lpstr>WHITE TEMPLATE</vt:lpstr>
      <vt:lpstr>SOFT BLACK TEMPLATE</vt:lpstr>
      <vt:lpstr>1_COLOR TEMPLATE</vt:lpstr>
      <vt:lpstr>1_WHITE TEMPLATE</vt:lpstr>
      <vt:lpstr>think-cell Slide</vt:lpstr>
      <vt:lpstr>Oh Kusto You Didn’t! (but probably should): Kusto Query Language 101</vt:lpstr>
      <vt:lpstr>Agenda </vt:lpstr>
      <vt:lpstr>Disclaimers </vt:lpstr>
      <vt:lpstr>Why learn Kusto Query Language?</vt:lpstr>
      <vt:lpstr>Part 1. Getting started with Kusto</vt:lpstr>
      <vt:lpstr>Download and Install Kusto and Sample Database</vt:lpstr>
      <vt:lpstr>Step 2. Get familiar with Kusto Query Language (KQL)</vt:lpstr>
      <vt:lpstr>Kusto Data Explorer</vt:lpstr>
      <vt:lpstr>Part 2. Hands on with Kusto </vt:lpstr>
      <vt:lpstr>Over to Kusto Data Explorer &amp; Python!</vt:lpstr>
    </vt:vector>
  </TitlesOfParts>
  <Manager>&lt;Comms manager name here&gt;</Manager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L Product Deck</dc:title>
  <dc:subject>&lt;Event name&gt;</dc:subject>
  <dc:creator>Rebekah Harvey</dc:creator>
  <cp:keywords/>
  <dc:description/>
  <cp:lastModifiedBy>Joshua Weaver</cp:lastModifiedBy>
  <cp:revision>10</cp:revision>
  <dcterms:created xsi:type="dcterms:W3CDTF">2018-09-28T21:17:37Z</dcterms:created>
  <dcterms:modified xsi:type="dcterms:W3CDTF">2018-12-06T19:2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842466E3D1E445B049902E74A52C90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</Properties>
</file>